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9" r:id="rId1"/>
  </p:sldMasterIdLst>
  <p:notesMasterIdLst>
    <p:notesMasterId r:id="rId21"/>
  </p:notesMasterIdLst>
  <p:sldIdLst>
    <p:sldId id="256" r:id="rId2"/>
    <p:sldId id="300" r:id="rId3"/>
    <p:sldId id="301" r:id="rId4"/>
    <p:sldId id="317" r:id="rId5"/>
    <p:sldId id="302" r:id="rId6"/>
    <p:sldId id="349" r:id="rId7"/>
    <p:sldId id="331" r:id="rId8"/>
    <p:sldId id="330" r:id="rId9"/>
    <p:sldId id="303" r:id="rId10"/>
    <p:sldId id="357" r:id="rId11"/>
    <p:sldId id="358" r:id="rId12"/>
    <p:sldId id="359" r:id="rId13"/>
    <p:sldId id="321" r:id="rId14"/>
    <p:sldId id="363" r:id="rId15"/>
    <p:sldId id="361" r:id="rId16"/>
    <p:sldId id="362" r:id="rId17"/>
    <p:sldId id="355" r:id="rId18"/>
    <p:sldId id="356" r:id="rId19"/>
    <p:sldId id="315" r:id="rId20"/>
  </p:sldIdLst>
  <p:sldSz cx="9144000" cy="5143500" type="screen16x9"/>
  <p:notesSz cx="6858000" cy="9144000"/>
  <p:embeddedFontLst>
    <p:embeddedFont>
      <p:font typeface="Fira Sans Condensed" panose="020B0604020202020204" charset="0"/>
      <p:regular r:id="rId22"/>
      <p:bold r:id="rId23"/>
      <p:italic r:id="rId24"/>
      <p:boldItalic r:id="rId25"/>
    </p:embeddedFont>
    <p:embeddedFont>
      <p:font typeface="Fira Sans Condensed Light" panose="020B0604020202020204" charset="0"/>
      <p:regular r:id="rId26"/>
      <p:bold r:id="rId27"/>
      <p:italic r:id="rId28"/>
      <p:boldItalic r:id="rId29"/>
    </p:embeddedFont>
    <p:embeddedFont>
      <p:font typeface="Rajdhani" panose="020B0604020202020204" charset="0"/>
      <p:regular r:id="rId30"/>
      <p:bold r:id="rId31"/>
    </p:embeddedFont>
  </p:embeddedFontLst>
  <p:custDataLst>
    <p:tags r:id="rId3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Abschnitt ohne Titel" id="{3F35E8A3-78F2-4B41-816C-DEAF9E73CB32}">
          <p14:sldIdLst/>
        </p14:section>
        <p14:section name="Abschnitt ohne Titel" id="{3D7665E0-C62F-4529-AD92-2BC3136042B8}">
          <p14:sldIdLst>
            <p14:sldId id="256"/>
            <p14:sldId id="300"/>
          </p14:sldIdLst>
        </p14:section>
        <p14:section name="1 Wrap-up: Problem Statement" id="{2519DCD5-5F55-4D89-99AE-5A383378B39C}">
          <p14:sldIdLst>
            <p14:sldId id="301"/>
            <p14:sldId id="317"/>
          </p14:sldIdLst>
        </p14:section>
        <p14:section name="2 Final Results &amp; Realisation details" id="{245DE1B4-04A5-41E4-AA3F-0F0A7553A1D8}">
          <p14:sldIdLst>
            <p14:sldId id="302"/>
            <p14:sldId id="349"/>
            <p14:sldId id="331"/>
            <p14:sldId id="330"/>
          </p14:sldIdLst>
        </p14:section>
        <p14:section name="3 Final Demo" id="{D61D7E53-EBEA-4ED7-8612-7EAEAC80EAFD}">
          <p14:sldIdLst>
            <p14:sldId id="303"/>
            <p14:sldId id="357"/>
            <p14:sldId id="358"/>
            <p14:sldId id="359"/>
            <p14:sldId id="321"/>
            <p14:sldId id="363"/>
            <p14:sldId id="361"/>
            <p14:sldId id="362"/>
          </p14:sldIdLst>
        </p14:section>
        <p14:section name="4 Conclusion" id="{2C2E255E-C531-4FF7-894F-BC459DFD683F}">
          <p14:sldIdLst>
            <p14:sldId id="355"/>
            <p14:sldId id="356"/>
          </p14:sldIdLst>
        </p14:section>
        <p14:section name="Backup: New Agenda" id="{893CD0E0-E367-4360-AEFC-54B9040AAA90}">
          <p14:sldIdLst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490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3D243A-D65E-4D51-B5DA-BFE05DE3D5C0}" v="20" dt="2022-02-27T21:21:21.354"/>
    <p1510:client id="{88919985-FBE5-4709-9331-466F7897E196}" v="104" dt="2022-02-27T12:21:39.068"/>
    <p1510:client id="{BE7CA3F8-CA04-49C1-AAB5-EC8B90625D1D}" v="28" dt="2022-02-27T21:55:33.376"/>
    <p1510:client id="{F4808697-96FD-4B00-8580-9591220ED9D5}" v="1207" dt="2022-02-27T11:24:23.803"/>
    <p1510:client id="{FFDE2696-FD0A-4B4E-8F67-360AF9485457}" v="1365" dt="2022-02-27T12:37:39.321"/>
  </p1510:revLst>
</p1510:revInfo>
</file>

<file path=ppt/tableStyles.xml><?xml version="1.0" encoding="utf-8"?>
<a:tblStyleLst xmlns:a="http://schemas.openxmlformats.org/drawingml/2006/main" def="{C2AB2DED-7D61-4789-B118-652A2F273E4F}">
  <a:tblStyle styleId="{C2AB2DED-7D61-4789-B118-652A2F273E4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21" Type="http://schemas.openxmlformats.org/officeDocument/2006/relationships/notesMaster" Target="notesMasters/notesMaster1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417d537d297f691c" providerId="Windows Live" clId="Web-{F4808697-96FD-4B00-8580-9591220ED9D5}"/>
    <pc:docChg chg="delSld modSld modSection">
      <pc:chgData name="Guest User" userId="417d537d297f691c" providerId="Windows Live" clId="Web-{F4808697-96FD-4B00-8580-9591220ED9D5}" dt="2022-02-27T11:24:23.803" v="658" actId="1076"/>
      <pc:docMkLst>
        <pc:docMk/>
      </pc:docMkLst>
      <pc:sldChg chg="modSp">
        <pc:chgData name="Guest User" userId="417d537d297f691c" providerId="Windows Live" clId="Web-{F4808697-96FD-4B00-8580-9591220ED9D5}" dt="2022-02-27T10:56:49.147" v="110" actId="20577"/>
        <pc:sldMkLst>
          <pc:docMk/>
          <pc:sldMk cId="3392647782" sldId="300"/>
        </pc:sldMkLst>
        <pc:spChg chg="mod">
          <ac:chgData name="Guest User" userId="417d537d297f691c" providerId="Windows Live" clId="Web-{F4808697-96FD-4B00-8580-9591220ED9D5}" dt="2022-02-27T10:56:49.147" v="110" actId="20577"/>
          <ac:spMkLst>
            <pc:docMk/>
            <pc:sldMk cId="3392647782" sldId="300"/>
            <ac:spMk id="9" creationId="{837FBA11-2840-4960-B22E-9E19817D0648}"/>
          </ac:spMkLst>
        </pc:spChg>
      </pc:sldChg>
      <pc:sldChg chg="modSp">
        <pc:chgData name="Guest User" userId="417d537d297f691c" providerId="Windows Live" clId="Web-{F4808697-96FD-4B00-8580-9591220ED9D5}" dt="2022-02-27T10:56:54.975" v="113" actId="20577"/>
        <pc:sldMkLst>
          <pc:docMk/>
          <pc:sldMk cId="2588455400" sldId="301"/>
        </pc:sldMkLst>
        <pc:spChg chg="mod">
          <ac:chgData name="Guest User" userId="417d537d297f691c" providerId="Windows Live" clId="Web-{F4808697-96FD-4B00-8580-9591220ED9D5}" dt="2022-02-27T10:56:54.975" v="113" actId="20577"/>
          <ac:spMkLst>
            <pc:docMk/>
            <pc:sldMk cId="2588455400" sldId="301"/>
            <ac:spMk id="10" creationId="{5A622948-6561-4C64-B05E-909937D8AD1B}"/>
          </ac:spMkLst>
        </pc:spChg>
      </pc:sldChg>
      <pc:sldChg chg="modSp">
        <pc:chgData name="Guest User" userId="417d537d297f691c" providerId="Windows Live" clId="Web-{F4808697-96FD-4B00-8580-9591220ED9D5}" dt="2022-02-27T10:57:53.588" v="116" actId="20577"/>
        <pc:sldMkLst>
          <pc:docMk/>
          <pc:sldMk cId="858770835" sldId="302"/>
        </pc:sldMkLst>
        <pc:spChg chg="mod">
          <ac:chgData name="Guest User" userId="417d537d297f691c" providerId="Windows Live" clId="Web-{F4808697-96FD-4B00-8580-9591220ED9D5}" dt="2022-02-27T10:57:53.588" v="116" actId="20577"/>
          <ac:spMkLst>
            <pc:docMk/>
            <pc:sldMk cId="858770835" sldId="302"/>
            <ac:spMk id="9" creationId="{A35A0017-26D3-46A3-86B3-93C416B388D3}"/>
          </ac:spMkLst>
        </pc:spChg>
      </pc:sldChg>
      <pc:sldChg chg="modSp">
        <pc:chgData name="Guest User" userId="417d537d297f691c" providerId="Windows Live" clId="Web-{F4808697-96FD-4B00-8580-9591220ED9D5}" dt="2022-02-27T10:58:17.965" v="119" actId="20577"/>
        <pc:sldMkLst>
          <pc:docMk/>
          <pc:sldMk cId="2105151646" sldId="303"/>
        </pc:sldMkLst>
        <pc:spChg chg="mod">
          <ac:chgData name="Guest User" userId="417d537d297f691c" providerId="Windows Live" clId="Web-{F4808697-96FD-4B00-8580-9591220ED9D5}" dt="2022-02-27T10:58:17.965" v="119" actId="20577"/>
          <ac:spMkLst>
            <pc:docMk/>
            <pc:sldMk cId="2105151646" sldId="303"/>
            <ac:spMk id="9" creationId="{EE9E92C3-BE7A-4289-A818-7B47C6236ACD}"/>
          </ac:spMkLst>
        </pc:spChg>
      </pc:sldChg>
      <pc:sldChg chg="del">
        <pc:chgData name="Guest User" userId="417d537d297f691c" providerId="Windows Live" clId="Web-{F4808697-96FD-4B00-8580-9591220ED9D5}" dt="2022-02-27T10:52:17.879" v="74"/>
        <pc:sldMkLst>
          <pc:docMk/>
          <pc:sldMk cId="865791137" sldId="313"/>
        </pc:sldMkLst>
      </pc:sldChg>
      <pc:sldChg chg="delSp">
        <pc:chgData name="Guest User" userId="417d537d297f691c" providerId="Windows Live" clId="Web-{F4808697-96FD-4B00-8580-9591220ED9D5}" dt="2022-02-27T11:14:07.934" v="655"/>
        <pc:sldMkLst>
          <pc:docMk/>
          <pc:sldMk cId="2379699748" sldId="315"/>
        </pc:sldMkLst>
        <pc:spChg chg="del">
          <ac:chgData name="Guest User" userId="417d537d297f691c" providerId="Windows Live" clId="Web-{F4808697-96FD-4B00-8580-9591220ED9D5}" dt="2022-02-27T11:14:07.934" v="655"/>
          <ac:spMkLst>
            <pc:docMk/>
            <pc:sldMk cId="2379699748" sldId="315"/>
            <ac:spMk id="1770" creationId="{00000000-0000-0000-0000-000000000000}"/>
          </ac:spMkLst>
        </pc:spChg>
      </pc:sldChg>
      <pc:sldChg chg="del">
        <pc:chgData name="Guest User" userId="417d537d297f691c" providerId="Windows Live" clId="Web-{F4808697-96FD-4B00-8580-9591220ED9D5}" dt="2022-02-27T10:52:30.177" v="75"/>
        <pc:sldMkLst>
          <pc:docMk/>
          <pc:sldMk cId="1845450887" sldId="319"/>
        </pc:sldMkLst>
      </pc:sldChg>
      <pc:sldChg chg="del">
        <pc:chgData name="Guest User" userId="417d537d297f691c" providerId="Windows Live" clId="Web-{F4808697-96FD-4B00-8580-9591220ED9D5}" dt="2022-02-27T10:52:52.537" v="76"/>
        <pc:sldMkLst>
          <pc:docMk/>
          <pc:sldMk cId="3437852376" sldId="324"/>
        </pc:sldMkLst>
      </pc:sldChg>
      <pc:sldChg chg="del">
        <pc:chgData name="Guest User" userId="417d537d297f691c" providerId="Windows Live" clId="Web-{F4808697-96FD-4B00-8580-9591220ED9D5}" dt="2022-02-27T10:53:01.913" v="77"/>
        <pc:sldMkLst>
          <pc:docMk/>
          <pc:sldMk cId="132641107" sldId="344"/>
        </pc:sldMkLst>
      </pc:sldChg>
      <pc:sldChg chg="del">
        <pc:chgData name="Guest User" userId="417d537d297f691c" providerId="Windows Live" clId="Web-{F4808697-96FD-4B00-8580-9591220ED9D5}" dt="2022-02-27T10:53:09.148" v="78"/>
        <pc:sldMkLst>
          <pc:docMk/>
          <pc:sldMk cId="3517640387" sldId="348"/>
        </pc:sldMkLst>
      </pc:sldChg>
      <pc:sldChg chg="addSp delSp modSp">
        <pc:chgData name="Guest User" userId="417d537d297f691c" providerId="Windows Live" clId="Web-{F4808697-96FD-4B00-8580-9591220ED9D5}" dt="2022-02-27T11:24:23.803" v="658" actId="1076"/>
        <pc:sldMkLst>
          <pc:docMk/>
          <pc:sldMk cId="2206461608" sldId="349"/>
        </pc:sldMkLst>
        <pc:spChg chg="add mod">
          <ac:chgData name="Guest User" userId="417d537d297f691c" providerId="Windows Live" clId="Web-{F4808697-96FD-4B00-8580-9591220ED9D5}" dt="2022-02-27T10:49:16.804" v="31" actId="1076"/>
          <ac:spMkLst>
            <pc:docMk/>
            <pc:sldMk cId="2206461608" sldId="349"/>
            <ac:spMk id="6" creationId="{EA8CF2C4-59CF-44B8-8BF9-3D32810D0686}"/>
          </ac:spMkLst>
        </pc:spChg>
        <pc:spChg chg="del">
          <ac:chgData name="Guest User" userId="417d537d297f691c" providerId="Windows Live" clId="Web-{F4808697-96FD-4B00-8580-9591220ED9D5}" dt="2022-02-27T10:56:01.722" v="107"/>
          <ac:spMkLst>
            <pc:docMk/>
            <pc:sldMk cId="2206461608" sldId="349"/>
            <ac:spMk id="14" creationId="{D9B3E3BB-3247-4882-9B32-71AE4206AB9F}"/>
          </ac:spMkLst>
        </pc:spChg>
        <pc:spChg chg="del">
          <ac:chgData name="Guest User" userId="417d537d297f691c" providerId="Windows Live" clId="Web-{F4808697-96FD-4B00-8580-9591220ED9D5}" dt="2022-02-27T10:46:21.621" v="0"/>
          <ac:spMkLst>
            <pc:docMk/>
            <pc:sldMk cId="2206461608" sldId="349"/>
            <ac:spMk id="23" creationId="{348C03E6-AF50-4BE4-B2E9-0F205FFA6FC3}"/>
          </ac:spMkLst>
        </pc:spChg>
        <pc:spChg chg="add mod">
          <ac:chgData name="Guest User" userId="417d537d297f691c" providerId="Windows Live" clId="Web-{F4808697-96FD-4B00-8580-9591220ED9D5}" dt="2022-02-27T10:49:54.448" v="39" actId="1076"/>
          <ac:spMkLst>
            <pc:docMk/>
            <pc:sldMk cId="2206461608" sldId="349"/>
            <ac:spMk id="35" creationId="{64D21C5C-957B-4A2A-A47E-91CE468361A3}"/>
          </ac:spMkLst>
        </pc:spChg>
        <pc:graphicFrameChg chg="mod modGraphic">
          <ac:chgData name="Guest User" userId="417d537d297f691c" providerId="Windows Live" clId="Web-{F4808697-96FD-4B00-8580-9591220ED9D5}" dt="2022-02-27T10:54:08.871" v="90"/>
          <ac:graphicFrameMkLst>
            <pc:docMk/>
            <pc:sldMk cId="2206461608" sldId="349"/>
            <ac:graphicFrameMk id="4" creationId="{69DC80EE-04A2-4870-8E0B-D4839A5234F4}"/>
          </ac:graphicFrameMkLst>
        </pc:graphicFrameChg>
        <pc:picChg chg="mod">
          <ac:chgData name="Guest User" userId="417d537d297f691c" providerId="Windows Live" clId="Web-{F4808697-96FD-4B00-8580-9591220ED9D5}" dt="2022-02-27T11:24:18.084" v="657" actId="1076"/>
          <ac:picMkLst>
            <pc:docMk/>
            <pc:sldMk cId="2206461608" sldId="349"/>
            <ac:picMk id="26" creationId="{6590A9BF-6014-420A-837E-A7763EA05912}"/>
          </ac:picMkLst>
        </pc:picChg>
        <pc:picChg chg="mod">
          <ac:chgData name="Guest User" userId="417d537d297f691c" providerId="Windows Live" clId="Web-{F4808697-96FD-4B00-8580-9591220ED9D5}" dt="2022-02-27T11:24:07.489" v="656" actId="1076"/>
          <ac:picMkLst>
            <pc:docMk/>
            <pc:sldMk cId="2206461608" sldId="349"/>
            <ac:picMk id="28" creationId="{EB283156-4029-4F2C-A04A-59F02D9CAE7C}"/>
          </ac:picMkLst>
        </pc:picChg>
        <pc:picChg chg="add del mod">
          <ac:chgData name="Guest User" userId="417d537d297f691c" providerId="Windows Live" clId="Web-{F4808697-96FD-4B00-8580-9591220ED9D5}" dt="2022-02-27T10:53:36.071" v="79"/>
          <ac:picMkLst>
            <pc:docMk/>
            <pc:sldMk cId="2206461608" sldId="349"/>
            <ac:picMk id="32" creationId="{E52A4949-EDAF-4831-B815-E1BD7EE9E74E}"/>
          </ac:picMkLst>
        </pc:picChg>
        <pc:picChg chg="add del">
          <ac:chgData name="Guest User" userId="417d537d297f691c" providerId="Windows Live" clId="Web-{F4808697-96FD-4B00-8580-9591220ED9D5}" dt="2022-02-27T10:49:26.977" v="35"/>
          <ac:picMkLst>
            <pc:docMk/>
            <pc:sldMk cId="2206461608" sldId="349"/>
            <ac:picMk id="33" creationId="{148703F1-D442-4D98-A0FB-04B9B159BDCB}"/>
          </ac:picMkLst>
        </pc:picChg>
        <pc:picChg chg="add del">
          <ac:chgData name="Guest User" userId="417d537d297f691c" providerId="Windows Live" clId="Web-{F4808697-96FD-4B00-8580-9591220ED9D5}" dt="2022-02-27T10:49:23.774" v="34"/>
          <ac:picMkLst>
            <pc:docMk/>
            <pc:sldMk cId="2206461608" sldId="349"/>
            <ac:picMk id="34" creationId="{D074EB9F-B54F-40B0-8A87-2F6B83341CB6}"/>
          </ac:picMkLst>
        </pc:picChg>
        <pc:picChg chg="add del mod">
          <ac:chgData name="Guest User" userId="417d537d297f691c" providerId="Windows Live" clId="Web-{F4808697-96FD-4B00-8580-9591220ED9D5}" dt="2022-02-27T10:55:32.235" v="101"/>
          <ac:picMkLst>
            <pc:docMk/>
            <pc:sldMk cId="2206461608" sldId="349"/>
            <ac:picMk id="36" creationId="{5E5F2099-0118-48C5-AB13-5B624383135B}"/>
          </ac:picMkLst>
        </pc:picChg>
        <pc:picChg chg="add mod">
          <ac:chgData name="Guest User" userId="417d537d297f691c" providerId="Windows Live" clId="Web-{F4808697-96FD-4B00-8580-9591220ED9D5}" dt="2022-02-27T10:53:58.104" v="84" actId="1076"/>
          <ac:picMkLst>
            <pc:docMk/>
            <pc:sldMk cId="2206461608" sldId="349"/>
            <ac:picMk id="37" creationId="{0946AEE7-6223-458F-9ADB-5336456339EA}"/>
          </ac:picMkLst>
        </pc:picChg>
        <pc:picChg chg="add mod">
          <ac:chgData name="Guest User" userId="417d537d297f691c" providerId="Windows Live" clId="Web-{F4808697-96FD-4B00-8580-9591220ED9D5}" dt="2022-02-27T10:54:25.418" v="92" actId="1076"/>
          <ac:picMkLst>
            <pc:docMk/>
            <pc:sldMk cId="2206461608" sldId="349"/>
            <ac:picMk id="38" creationId="{4B39A710-AEE8-4BC7-8700-6929789C12F6}"/>
          </ac:picMkLst>
        </pc:picChg>
        <pc:picChg chg="add mod">
          <ac:chgData name="Guest User" userId="417d537d297f691c" providerId="Windows Live" clId="Web-{F4808697-96FD-4B00-8580-9591220ED9D5}" dt="2022-02-27T10:54:43.529" v="94" actId="1076"/>
          <ac:picMkLst>
            <pc:docMk/>
            <pc:sldMk cId="2206461608" sldId="349"/>
            <ac:picMk id="39" creationId="{F7CD58D3-F071-473F-B898-E513BABD7553}"/>
          </ac:picMkLst>
        </pc:picChg>
        <pc:picChg chg="add mod">
          <ac:chgData name="Guest User" userId="417d537d297f691c" providerId="Windows Live" clId="Web-{F4808697-96FD-4B00-8580-9591220ED9D5}" dt="2022-02-27T10:55:09.375" v="96" actId="1076"/>
          <ac:picMkLst>
            <pc:docMk/>
            <pc:sldMk cId="2206461608" sldId="349"/>
            <ac:picMk id="40" creationId="{C236D19A-5B33-461C-B053-49E253B90FD2}"/>
          </ac:picMkLst>
        </pc:picChg>
        <pc:picChg chg="add mod">
          <ac:chgData name="Guest User" userId="417d537d297f691c" providerId="Windows Live" clId="Web-{F4808697-96FD-4B00-8580-9591220ED9D5}" dt="2022-02-27T10:55:24.157" v="99" actId="1076"/>
          <ac:picMkLst>
            <pc:docMk/>
            <pc:sldMk cId="2206461608" sldId="349"/>
            <ac:picMk id="41" creationId="{5ED971A2-8021-4AD1-8604-96D3EE49227C}"/>
          </ac:picMkLst>
        </pc:picChg>
        <pc:picChg chg="add del">
          <ac:chgData name="Guest User" userId="417d537d297f691c" providerId="Windows Live" clId="Web-{F4808697-96FD-4B00-8580-9591220ED9D5}" dt="2022-02-27T10:55:36.814" v="102"/>
          <ac:picMkLst>
            <pc:docMk/>
            <pc:sldMk cId="2206461608" sldId="349"/>
            <ac:picMk id="42" creationId="{6B207B31-4B7B-4D5D-BDF5-4BC5C93E7A92}"/>
          </ac:picMkLst>
        </pc:picChg>
        <pc:picChg chg="add mod">
          <ac:chgData name="Guest User" userId="417d537d297f691c" providerId="Windows Live" clId="Web-{F4808697-96FD-4B00-8580-9591220ED9D5}" dt="2022-02-27T10:55:45.908" v="104" actId="1076"/>
          <ac:picMkLst>
            <pc:docMk/>
            <pc:sldMk cId="2206461608" sldId="349"/>
            <ac:picMk id="43" creationId="{B8E0088C-7A68-4373-AE1B-36A04FBCEAC2}"/>
          </ac:picMkLst>
        </pc:picChg>
        <pc:picChg chg="add mod">
          <ac:chgData name="Guest User" userId="417d537d297f691c" providerId="Windows Live" clId="Web-{F4808697-96FD-4B00-8580-9591220ED9D5}" dt="2022-02-27T11:24:23.803" v="658" actId="1076"/>
          <ac:picMkLst>
            <pc:docMk/>
            <pc:sldMk cId="2206461608" sldId="349"/>
            <ac:picMk id="44" creationId="{687AE5C2-D3F8-4D0A-985E-B9454D0237B8}"/>
          </ac:picMkLst>
        </pc:picChg>
        <pc:cxnChg chg="add mod">
          <ac:chgData name="Guest User" userId="417d537d297f691c" providerId="Windows Live" clId="Web-{F4808697-96FD-4B00-8580-9591220ED9D5}" dt="2022-02-27T10:48:12.222" v="18" actId="14100"/>
          <ac:cxnSpMkLst>
            <pc:docMk/>
            <pc:sldMk cId="2206461608" sldId="349"/>
            <ac:cxnSpMk id="3" creationId="{E11FCF1E-76D2-42CE-981B-924C3E6FAEBC}"/>
          </ac:cxnSpMkLst>
        </pc:cxnChg>
      </pc:sldChg>
      <pc:sldChg chg="modSp">
        <pc:chgData name="Guest User" userId="417d537d297f691c" providerId="Windows Live" clId="Web-{F4808697-96FD-4B00-8580-9591220ED9D5}" dt="2022-02-27T10:58:33.247" v="122" actId="20577"/>
        <pc:sldMkLst>
          <pc:docMk/>
          <pc:sldMk cId="3697411857" sldId="355"/>
        </pc:sldMkLst>
        <pc:spChg chg="mod">
          <ac:chgData name="Guest User" userId="417d537d297f691c" providerId="Windows Live" clId="Web-{F4808697-96FD-4B00-8580-9591220ED9D5}" dt="2022-02-27T10:58:33.247" v="122" actId="20577"/>
          <ac:spMkLst>
            <pc:docMk/>
            <pc:sldMk cId="3697411857" sldId="355"/>
            <ac:spMk id="9" creationId="{2AA1796C-22C0-48ED-AA28-38A7159A7CFC}"/>
          </ac:spMkLst>
        </pc:spChg>
      </pc:sldChg>
      <pc:sldChg chg="addSp delSp modSp">
        <pc:chgData name="Guest User" userId="417d537d297f691c" providerId="Windows Live" clId="Web-{F4808697-96FD-4B00-8580-9591220ED9D5}" dt="2022-02-27T11:13:20.665" v="654" actId="20577"/>
        <pc:sldMkLst>
          <pc:docMk/>
          <pc:sldMk cId="758189518" sldId="356"/>
        </pc:sldMkLst>
        <pc:spChg chg="mod">
          <ac:chgData name="Guest User" userId="417d537d297f691c" providerId="Windows Live" clId="Web-{F4808697-96FD-4B00-8580-9591220ED9D5}" dt="2022-02-27T11:13:20.665" v="654" actId="20577"/>
          <ac:spMkLst>
            <pc:docMk/>
            <pc:sldMk cId="758189518" sldId="356"/>
            <ac:spMk id="3" creationId="{20D7D35C-D2DF-4774-B751-DE60D3DF3D39}"/>
          </ac:spMkLst>
        </pc:spChg>
        <pc:spChg chg="del">
          <ac:chgData name="Guest User" userId="417d537d297f691c" providerId="Windows Live" clId="Web-{F4808697-96FD-4B00-8580-9591220ED9D5}" dt="2022-02-27T11:13:03.727" v="651"/>
          <ac:spMkLst>
            <pc:docMk/>
            <pc:sldMk cId="758189518" sldId="356"/>
            <ac:spMk id="4" creationId="{C872ECD5-FEC2-430C-9BB8-B48F2BF22503}"/>
          </ac:spMkLst>
        </pc:spChg>
        <pc:spChg chg="add mod">
          <ac:chgData name="Guest User" userId="417d537d297f691c" providerId="Windows Live" clId="Web-{F4808697-96FD-4B00-8580-9591220ED9D5}" dt="2022-02-27T11:02:44.498" v="289" actId="1076"/>
          <ac:spMkLst>
            <pc:docMk/>
            <pc:sldMk cId="758189518" sldId="356"/>
            <ac:spMk id="5" creationId="{403F8977-461D-4DE7-982B-B59E857D96BC}"/>
          </ac:spMkLst>
        </pc:spChg>
        <pc:spChg chg="add mod">
          <ac:chgData name="Guest User" userId="417d537d297f691c" providerId="Windows Live" clId="Web-{F4808697-96FD-4B00-8580-9591220ED9D5}" dt="2022-02-27T11:03:56.331" v="337" actId="1076"/>
          <ac:spMkLst>
            <pc:docMk/>
            <pc:sldMk cId="758189518" sldId="356"/>
            <ac:spMk id="6" creationId="{7770E9DE-0DAF-4FD6-A1D5-1DF698299614}"/>
          </ac:spMkLst>
        </pc:spChg>
        <pc:spChg chg="add mod">
          <ac:chgData name="Guest User" userId="417d537d297f691c" providerId="Windows Live" clId="Web-{F4808697-96FD-4B00-8580-9591220ED9D5}" dt="2022-02-27T11:04:01.378" v="338" actId="1076"/>
          <ac:spMkLst>
            <pc:docMk/>
            <pc:sldMk cId="758189518" sldId="356"/>
            <ac:spMk id="7" creationId="{71E85912-3BE9-458F-B13F-6218E42B0A34}"/>
          </ac:spMkLst>
        </pc:spChg>
        <pc:spChg chg="add mod">
          <ac:chgData name="Guest User" userId="417d537d297f691c" providerId="Windows Live" clId="Web-{F4808697-96FD-4B00-8580-9591220ED9D5}" dt="2022-02-27T11:07:54.425" v="502" actId="1076"/>
          <ac:spMkLst>
            <pc:docMk/>
            <pc:sldMk cId="758189518" sldId="356"/>
            <ac:spMk id="8" creationId="{42560B13-B2FF-4625-BE1F-F0AA10EE384D}"/>
          </ac:spMkLst>
        </pc:spChg>
        <pc:spChg chg="add mod">
          <ac:chgData name="Guest User" userId="417d537d297f691c" providerId="Windows Live" clId="Web-{F4808697-96FD-4B00-8580-9591220ED9D5}" dt="2022-02-27T11:08:00.003" v="503" actId="1076"/>
          <ac:spMkLst>
            <pc:docMk/>
            <pc:sldMk cId="758189518" sldId="356"/>
            <ac:spMk id="9" creationId="{5762EE64-ED8C-4F55-9863-466D36733193}"/>
          </ac:spMkLst>
        </pc:spChg>
        <pc:spChg chg="add mod">
          <ac:chgData name="Guest User" userId="417d537d297f691c" providerId="Windows Live" clId="Web-{F4808697-96FD-4B00-8580-9591220ED9D5}" dt="2022-02-27T11:05:41.963" v="397" actId="20577"/>
          <ac:spMkLst>
            <pc:docMk/>
            <pc:sldMk cId="758189518" sldId="356"/>
            <ac:spMk id="10" creationId="{5BF4834F-4A4A-4008-91B2-AD89006F1572}"/>
          </ac:spMkLst>
        </pc:spChg>
        <pc:spChg chg="add mod">
          <ac:chgData name="Guest User" userId="417d537d297f691c" providerId="Windows Live" clId="Web-{F4808697-96FD-4B00-8580-9591220ED9D5}" dt="2022-02-27T11:06:41.951" v="464" actId="20577"/>
          <ac:spMkLst>
            <pc:docMk/>
            <pc:sldMk cId="758189518" sldId="356"/>
            <ac:spMk id="11" creationId="{A8D56257-57A0-4030-B6FD-F1A0A2BBBCFB}"/>
          </ac:spMkLst>
        </pc:spChg>
        <pc:spChg chg="add mod">
          <ac:chgData name="Guest User" userId="417d537d297f691c" providerId="Windows Live" clId="Web-{F4808697-96FD-4B00-8580-9591220ED9D5}" dt="2022-02-27T11:07:40.596" v="501" actId="20577"/>
          <ac:spMkLst>
            <pc:docMk/>
            <pc:sldMk cId="758189518" sldId="356"/>
            <ac:spMk id="12" creationId="{67CEC5D9-39E2-4910-A653-EDBF0151510E}"/>
          </ac:spMkLst>
        </pc:spChg>
        <pc:spChg chg="add mod">
          <ac:chgData name="Guest User" userId="417d537d297f691c" providerId="Windows Live" clId="Web-{F4808697-96FD-4B00-8580-9591220ED9D5}" dt="2022-02-27T11:09:24.306" v="550" actId="20577"/>
          <ac:spMkLst>
            <pc:docMk/>
            <pc:sldMk cId="758189518" sldId="356"/>
            <ac:spMk id="13" creationId="{6CC0A7CD-04E9-4BBF-99CE-CC4DCB206E0F}"/>
          </ac:spMkLst>
        </pc:spChg>
        <pc:spChg chg="add mod">
          <ac:chgData name="Guest User" userId="417d537d297f691c" providerId="Windows Live" clId="Web-{F4808697-96FD-4B00-8580-9591220ED9D5}" dt="2022-02-27T11:11:23.236" v="611" actId="1076"/>
          <ac:spMkLst>
            <pc:docMk/>
            <pc:sldMk cId="758189518" sldId="356"/>
            <ac:spMk id="14" creationId="{235D790C-2657-40FD-AC0C-DFC5049648F7}"/>
          </ac:spMkLst>
        </pc:spChg>
        <pc:spChg chg="add mod">
          <ac:chgData name="Guest User" userId="417d537d297f691c" providerId="Windows Live" clId="Web-{F4808697-96FD-4B00-8580-9591220ED9D5}" dt="2022-02-27T11:10:45.936" v="607" actId="1076"/>
          <ac:spMkLst>
            <pc:docMk/>
            <pc:sldMk cId="758189518" sldId="356"/>
            <ac:spMk id="15" creationId="{98167CF9-CFD9-4BBF-8E3D-C04CEB0CB522}"/>
          </ac:spMkLst>
        </pc:spChg>
        <pc:spChg chg="add mod">
          <ac:chgData name="Guest User" userId="417d537d297f691c" providerId="Windows Live" clId="Web-{F4808697-96FD-4B00-8580-9591220ED9D5}" dt="2022-02-27T11:13:02.226" v="650" actId="20577"/>
          <ac:spMkLst>
            <pc:docMk/>
            <pc:sldMk cId="758189518" sldId="356"/>
            <ac:spMk id="16" creationId="{091D5C2F-035C-40E7-9704-3F8476A0E759}"/>
          </ac:spMkLst>
        </pc:spChg>
      </pc:sldChg>
    </pc:docChg>
  </pc:docChgLst>
  <pc:docChgLst>
    <pc:chgData name="Ronny Georgi" userId="516b13485727eb9a" providerId="LiveId" clId="{FFDE2696-FD0A-4B4E-8F67-360AF9485457}"/>
    <pc:docChg chg="undo redo custSel addSld delSld modSld sldOrd modSection replTag">
      <pc:chgData name="Ronny Georgi" userId="516b13485727eb9a" providerId="LiveId" clId="{FFDE2696-FD0A-4B4E-8F67-360AF9485457}" dt="2022-02-27T12:37:39.321" v="1080" actId="47"/>
      <pc:docMkLst>
        <pc:docMk/>
      </pc:docMkLst>
      <pc:sldChg chg="modSp mod">
        <pc:chgData name="Ronny Georgi" userId="516b13485727eb9a" providerId="LiveId" clId="{FFDE2696-FD0A-4B4E-8F67-360AF9485457}" dt="2022-02-25T12:43:26.861" v="947" actId="20578"/>
        <pc:sldMkLst>
          <pc:docMk/>
          <pc:sldMk cId="0" sldId="256"/>
        </pc:sldMkLst>
        <pc:spChg chg="mod">
          <ac:chgData name="Ronny Georgi" userId="516b13485727eb9a" providerId="LiveId" clId="{FFDE2696-FD0A-4B4E-8F67-360AF9485457}" dt="2022-02-25T12:43:26.861" v="947" actId="20578"/>
          <ac:spMkLst>
            <pc:docMk/>
            <pc:sldMk cId="0" sldId="256"/>
            <ac:spMk id="102" creationId="{00000000-0000-0000-0000-000000000000}"/>
          </ac:spMkLst>
        </pc:spChg>
        <pc:spChg chg="mod">
          <ac:chgData name="Ronny Georgi" userId="516b13485727eb9a" providerId="LiveId" clId="{FFDE2696-FD0A-4B4E-8F67-360AF9485457}" dt="2022-02-24T02:01:46.446" v="821" actId="20577"/>
          <ac:spMkLst>
            <pc:docMk/>
            <pc:sldMk cId="0" sldId="256"/>
            <ac:spMk id="103" creationId="{00000000-0000-0000-0000-000000000000}"/>
          </ac:spMkLst>
        </pc:spChg>
      </pc:sldChg>
      <pc:sldChg chg="addSp delSp modSp mod">
        <pc:chgData name="Ronny Georgi" userId="516b13485727eb9a" providerId="LiveId" clId="{FFDE2696-FD0A-4B4E-8F67-360AF9485457}" dt="2022-02-23T18:37:44.802" v="92"/>
        <pc:sldMkLst>
          <pc:docMk/>
          <pc:sldMk cId="3392647782" sldId="300"/>
        </pc:sldMkLst>
        <pc:spChg chg="add mod">
          <ac:chgData name="Ronny Georgi" userId="516b13485727eb9a" providerId="LiveId" clId="{FFDE2696-FD0A-4B4E-8F67-360AF9485457}" dt="2022-02-23T18:37:44.512" v="50" actId="478"/>
          <ac:spMkLst>
            <pc:docMk/>
            <pc:sldMk cId="3392647782" sldId="300"/>
            <ac:spMk id="3" creationId="{046F33E4-6EAE-4304-A674-8A69B7319767}"/>
          </ac:spMkLst>
        </pc:spChg>
        <pc:spChg chg="mod ord replST">
          <ac:chgData name="Ronny Georgi" userId="516b13485727eb9a" providerId="LiveId" clId="{FFDE2696-FD0A-4B4E-8F67-360AF9485457}" dt="2022-02-23T18:37:44.802" v="92"/>
          <ac:spMkLst>
            <pc:docMk/>
            <pc:sldMk cId="3392647782" sldId="300"/>
            <ac:spMk id="4" creationId="{0591A56E-3962-4BF9-9D48-50D3DA287EA8}"/>
          </ac:spMkLst>
        </pc:spChg>
        <pc:spChg chg="replST">
          <ac:chgData name="Ronny Georgi" userId="516b13485727eb9a" providerId="LiveId" clId="{FFDE2696-FD0A-4B4E-8F67-360AF9485457}" dt="2022-02-23T18:37:44.686" v="62"/>
          <ac:spMkLst>
            <pc:docMk/>
            <pc:sldMk cId="3392647782" sldId="300"/>
            <ac:spMk id="5" creationId="{774EF1B2-EE8E-4D04-B4CA-A0EFDFA09F7D}"/>
          </ac:spMkLst>
        </pc:spChg>
        <pc:spChg chg="replST">
          <ac:chgData name="Ronny Georgi" userId="516b13485727eb9a" providerId="LiveId" clId="{FFDE2696-FD0A-4B4E-8F67-360AF9485457}" dt="2022-02-23T18:37:44.711" v="65"/>
          <ac:spMkLst>
            <pc:docMk/>
            <pc:sldMk cId="3392647782" sldId="300"/>
            <ac:spMk id="6" creationId="{21B74FD7-6611-4178-818A-956B28FA5E2D}"/>
          </ac:spMkLst>
        </pc:spChg>
        <pc:spChg chg="replST">
          <ac:chgData name="Ronny Georgi" userId="516b13485727eb9a" providerId="LiveId" clId="{FFDE2696-FD0A-4B4E-8F67-360AF9485457}" dt="2022-02-23T18:37:44.720" v="67"/>
          <ac:spMkLst>
            <pc:docMk/>
            <pc:sldMk cId="3392647782" sldId="300"/>
            <ac:spMk id="7" creationId="{85334429-B12C-4544-B86C-5FCFC88D0594}"/>
          </ac:spMkLst>
        </pc:spChg>
        <pc:spChg chg="replST">
          <ac:chgData name="Ronny Georgi" userId="516b13485727eb9a" providerId="LiveId" clId="{FFDE2696-FD0A-4B4E-8F67-360AF9485457}" dt="2022-02-23T18:37:44.723" v="70"/>
          <ac:spMkLst>
            <pc:docMk/>
            <pc:sldMk cId="3392647782" sldId="300"/>
            <ac:spMk id="8" creationId="{9271DCE7-EC53-4CCF-A9C4-F762F5EC4753}"/>
          </ac:spMkLst>
        </pc:spChg>
        <pc:spChg chg="replST">
          <ac:chgData name="Ronny Georgi" userId="516b13485727eb9a" providerId="LiveId" clId="{FFDE2696-FD0A-4B4E-8F67-360AF9485457}" dt="2022-02-23T18:37:44.734" v="73"/>
          <ac:spMkLst>
            <pc:docMk/>
            <pc:sldMk cId="3392647782" sldId="300"/>
            <ac:spMk id="9" creationId="{837FBA11-2840-4960-B22E-9E19817D0648}"/>
          </ac:spMkLst>
        </pc:spChg>
        <pc:spChg chg="replST">
          <ac:chgData name="Ronny Georgi" userId="516b13485727eb9a" providerId="LiveId" clId="{FFDE2696-FD0A-4B4E-8F67-360AF9485457}" dt="2022-02-23T18:37:44.739" v="75"/>
          <ac:spMkLst>
            <pc:docMk/>
            <pc:sldMk cId="3392647782" sldId="300"/>
            <ac:spMk id="10" creationId="{0BEFEB79-4841-4999-AC9D-97E472C66245}"/>
          </ac:spMkLst>
        </pc:spChg>
        <pc:spChg chg="replST">
          <ac:chgData name="Ronny Georgi" userId="516b13485727eb9a" providerId="LiveId" clId="{FFDE2696-FD0A-4B4E-8F67-360AF9485457}" dt="2022-02-23T18:37:44.742" v="78"/>
          <ac:spMkLst>
            <pc:docMk/>
            <pc:sldMk cId="3392647782" sldId="300"/>
            <ac:spMk id="11" creationId="{D7A98785-D93C-4196-8A7D-F95977C77081}"/>
          </ac:spMkLst>
        </pc:spChg>
        <pc:spChg chg="replST">
          <ac:chgData name="Ronny Georgi" userId="516b13485727eb9a" providerId="LiveId" clId="{FFDE2696-FD0A-4B4E-8F67-360AF9485457}" dt="2022-02-23T18:37:44.750" v="81"/>
          <ac:spMkLst>
            <pc:docMk/>
            <pc:sldMk cId="3392647782" sldId="300"/>
            <ac:spMk id="12" creationId="{DC2449DF-0FC1-49AD-BBAA-0286FD656C58}"/>
          </ac:spMkLst>
        </pc:spChg>
        <pc:spChg chg="replST">
          <ac:chgData name="Ronny Georgi" userId="516b13485727eb9a" providerId="LiveId" clId="{FFDE2696-FD0A-4B4E-8F67-360AF9485457}" dt="2022-02-23T18:37:44.761" v="83"/>
          <ac:spMkLst>
            <pc:docMk/>
            <pc:sldMk cId="3392647782" sldId="300"/>
            <ac:spMk id="13" creationId="{12816CDF-EC9A-47E2-9C47-99EE3EBC4F9E}"/>
          </ac:spMkLst>
        </pc:spChg>
        <pc:spChg chg="replST">
          <ac:chgData name="Ronny Georgi" userId="516b13485727eb9a" providerId="LiveId" clId="{FFDE2696-FD0A-4B4E-8F67-360AF9485457}" dt="2022-02-23T18:37:44.773" v="86"/>
          <ac:spMkLst>
            <pc:docMk/>
            <pc:sldMk cId="3392647782" sldId="300"/>
            <ac:spMk id="14" creationId="{0CA54B91-D80A-4E7E-94BA-E511F17DF7A0}"/>
          </ac:spMkLst>
        </pc:spChg>
        <pc:spChg chg="replST">
          <ac:chgData name="Ronny Georgi" userId="516b13485727eb9a" providerId="LiveId" clId="{FFDE2696-FD0A-4B4E-8F67-360AF9485457}" dt="2022-02-23T18:37:44.791" v="89"/>
          <ac:spMkLst>
            <pc:docMk/>
            <pc:sldMk cId="3392647782" sldId="300"/>
            <ac:spMk id="15" creationId="{DF5EEC6C-0775-433C-8DD3-8A5386BF9543}"/>
          </ac:spMkLst>
        </pc:spChg>
        <pc:spChg chg="replST">
          <ac:chgData name="Ronny Georgi" userId="516b13485727eb9a" providerId="LiveId" clId="{FFDE2696-FD0A-4B4E-8F67-360AF9485457}" dt="2022-02-23T18:37:44.798" v="91"/>
          <ac:spMkLst>
            <pc:docMk/>
            <pc:sldMk cId="3392647782" sldId="300"/>
            <ac:spMk id="16" creationId="{3D6824B2-571C-45A1-A7DD-1ED9319F7055}"/>
          </ac:spMkLst>
        </pc:spChg>
        <pc:spChg chg="del">
          <ac:chgData name="Ronny Georgi" userId="516b13485727eb9a" providerId="LiveId" clId="{FFDE2696-FD0A-4B4E-8F67-360AF9485457}" dt="2022-02-23T18:37:44.512" v="50" actId="478"/>
          <ac:spMkLst>
            <pc:docMk/>
            <pc:sldMk cId="3392647782" sldId="300"/>
            <ac:spMk id="56" creationId="{A3218E69-0A3F-4265-BDDF-FF1B2B0FE116}"/>
          </ac:spMkLst>
        </pc:spChg>
      </pc:sldChg>
      <pc:sldChg chg="addSp delSp modSp mod">
        <pc:chgData name="Ronny Georgi" userId="516b13485727eb9a" providerId="LiveId" clId="{FFDE2696-FD0A-4B4E-8F67-360AF9485457}" dt="2022-02-23T18:37:44.962" v="129"/>
        <pc:sldMkLst>
          <pc:docMk/>
          <pc:sldMk cId="2588455400" sldId="301"/>
        </pc:sldMkLst>
        <pc:spChg chg="add mod">
          <ac:chgData name="Ronny Georgi" userId="516b13485727eb9a" providerId="LiveId" clId="{FFDE2696-FD0A-4B4E-8F67-360AF9485457}" dt="2022-02-23T18:37:44.565" v="51" actId="478"/>
          <ac:spMkLst>
            <pc:docMk/>
            <pc:sldMk cId="2588455400" sldId="301"/>
            <ac:spMk id="3" creationId="{398CF2A0-1985-423F-A5E6-39E8DE5943EC}"/>
          </ac:spMkLst>
        </pc:spChg>
        <pc:spChg chg="mod ord replST">
          <ac:chgData name="Ronny Georgi" userId="516b13485727eb9a" providerId="LiveId" clId="{FFDE2696-FD0A-4B4E-8F67-360AF9485457}" dt="2022-02-23T18:37:44.960" v="128"/>
          <ac:spMkLst>
            <pc:docMk/>
            <pc:sldMk cId="2588455400" sldId="301"/>
            <ac:spMk id="4" creationId="{19AFBEEF-9E89-4FC4-81B2-2EA334A96961}"/>
          </ac:spMkLst>
        </pc:spChg>
        <pc:spChg chg="replST">
          <ac:chgData name="Ronny Georgi" userId="516b13485727eb9a" providerId="LiveId" clId="{FFDE2696-FD0A-4B4E-8F67-360AF9485457}" dt="2022-02-23T18:37:44.844" v="97"/>
          <ac:spMkLst>
            <pc:docMk/>
            <pc:sldMk cId="2588455400" sldId="301"/>
            <ac:spMk id="5" creationId="{6138C515-203C-44A4-850D-00F6F9EFFB74}"/>
          </ac:spMkLst>
        </pc:spChg>
        <pc:spChg chg="replST">
          <ac:chgData name="Ronny Georgi" userId="516b13485727eb9a" providerId="LiveId" clId="{FFDE2696-FD0A-4B4E-8F67-360AF9485457}" dt="2022-02-23T18:37:44.857" v="100"/>
          <ac:spMkLst>
            <pc:docMk/>
            <pc:sldMk cId="2588455400" sldId="301"/>
            <ac:spMk id="6" creationId="{07309CD3-45F0-4CDA-B5FA-C6984544666E}"/>
          </ac:spMkLst>
        </pc:spChg>
        <pc:spChg chg="replST">
          <ac:chgData name="Ronny Georgi" userId="516b13485727eb9a" providerId="LiveId" clId="{FFDE2696-FD0A-4B4E-8F67-360AF9485457}" dt="2022-02-23T18:37:44.861" v="102"/>
          <ac:spMkLst>
            <pc:docMk/>
            <pc:sldMk cId="2588455400" sldId="301"/>
            <ac:spMk id="7" creationId="{4AC7A819-8268-4861-BBD1-84D67AD30C28}"/>
          </ac:spMkLst>
        </pc:spChg>
        <pc:spChg chg="ord replST">
          <ac:chgData name="Ronny Georgi" userId="516b13485727eb9a" providerId="LiveId" clId="{FFDE2696-FD0A-4B4E-8F67-360AF9485457}" dt="2022-02-23T18:37:44.962" v="129"/>
          <ac:spMkLst>
            <pc:docMk/>
            <pc:sldMk cId="2588455400" sldId="301"/>
            <ac:spMk id="8" creationId="{D3F7EB21-D2FD-4D26-82CA-8A73293B8BBF}"/>
          </ac:spMkLst>
        </pc:spChg>
        <pc:spChg chg="replST">
          <ac:chgData name="Ronny Georgi" userId="516b13485727eb9a" providerId="LiveId" clId="{FFDE2696-FD0A-4B4E-8F67-360AF9485457}" dt="2022-02-23T18:37:44.873" v="106"/>
          <ac:spMkLst>
            <pc:docMk/>
            <pc:sldMk cId="2588455400" sldId="301"/>
            <ac:spMk id="9" creationId="{43C644B6-5700-4111-9792-B6DFD56F83D2}"/>
          </ac:spMkLst>
        </pc:spChg>
        <pc:spChg chg="replST">
          <ac:chgData name="Ronny Georgi" userId="516b13485727eb9a" providerId="LiveId" clId="{FFDE2696-FD0A-4B4E-8F67-360AF9485457}" dt="2022-02-23T18:37:44.899" v="109"/>
          <ac:spMkLst>
            <pc:docMk/>
            <pc:sldMk cId="2588455400" sldId="301"/>
            <ac:spMk id="10" creationId="{5A622948-6561-4C64-B05E-909937D8AD1B}"/>
          </ac:spMkLst>
        </pc:spChg>
        <pc:spChg chg="replST">
          <ac:chgData name="Ronny Georgi" userId="516b13485727eb9a" providerId="LiveId" clId="{FFDE2696-FD0A-4B4E-8F67-360AF9485457}" dt="2022-02-23T18:37:44.905" v="111"/>
          <ac:spMkLst>
            <pc:docMk/>
            <pc:sldMk cId="2588455400" sldId="301"/>
            <ac:spMk id="11" creationId="{A22B7470-7578-434A-A633-0C1BD6F5D624}"/>
          </ac:spMkLst>
        </pc:spChg>
        <pc:spChg chg="replST">
          <ac:chgData name="Ronny Georgi" userId="516b13485727eb9a" providerId="LiveId" clId="{FFDE2696-FD0A-4B4E-8F67-360AF9485457}" dt="2022-02-23T18:37:44.909" v="114"/>
          <ac:spMkLst>
            <pc:docMk/>
            <pc:sldMk cId="2588455400" sldId="301"/>
            <ac:spMk id="12" creationId="{E2532F9E-10D2-479A-A726-DADA50C73F1A}"/>
          </ac:spMkLst>
        </pc:spChg>
        <pc:spChg chg="replST">
          <ac:chgData name="Ronny Georgi" userId="516b13485727eb9a" providerId="LiveId" clId="{FFDE2696-FD0A-4B4E-8F67-360AF9485457}" dt="2022-02-23T18:37:44.919" v="117"/>
          <ac:spMkLst>
            <pc:docMk/>
            <pc:sldMk cId="2588455400" sldId="301"/>
            <ac:spMk id="13" creationId="{28CF13EC-F64B-4015-865A-6F17D77247EE}"/>
          </ac:spMkLst>
        </pc:spChg>
        <pc:spChg chg="replST">
          <ac:chgData name="Ronny Georgi" userId="516b13485727eb9a" providerId="LiveId" clId="{FFDE2696-FD0A-4B4E-8F67-360AF9485457}" dt="2022-02-23T18:37:44.925" v="119"/>
          <ac:spMkLst>
            <pc:docMk/>
            <pc:sldMk cId="2588455400" sldId="301"/>
            <ac:spMk id="14" creationId="{B7A702A4-8B16-4E48-B447-7FBFDA1F0902}"/>
          </ac:spMkLst>
        </pc:spChg>
        <pc:spChg chg="replST">
          <ac:chgData name="Ronny Georgi" userId="516b13485727eb9a" providerId="LiveId" clId="{FFDE2696-FD0A-4B4E-8F67-360AF9485457}" dt="2022-02-23T18:37:44.927" v="122"/>
          <ac:spMkLst>
            <pc:docMk/>
            <pc:sldMk cId="2588455400" sldId="301"/>
            <ac:spMk id="15" creationId="{728D08FA-850B-4A87-9F51-98830DCB2CD9}"/>
          </ac:spMkLst>
        </pc:spChg>
        <pc:spChg chg="replST">
          <ac:chgData name="Ronny Georgi" userId="516b13485727eb9a" providerId="LiveId" clId="{FFDE2696-FD0A-4B4E-8F67-360AF9485457}" dt="2022-02-23T18:37:44.950" v="125"/>
          <ac:spMkLst>
            <pc:docMk/>
            <pc:sldMk cId="2588455400" sldId="301"/>
            <ac:spMk id="16" creationId="{478D3A85-AF3D-4566-BB7A-42A33B6FB26D}"/>
          </ac:spMkLst>
        </pc:spChg>
        <pc:spChg chg="replST">
          <ac:chgData name="Ronny Georgi" userId="516b13485727eb9a" providerId="LiveId" clId="{FFDE2696-FD0A-4B4E-8F67-360AF9485457}" dt="2022-02-23T18:37:44.959" v="127"/>
          <ac:spMkLst>
            <pc:docMk/>
            <pc:sldMk cId="2588455400" sldId="301"/>
            <ac:spMk id="17" creationId="{28F2FA8F-7AFB-4DA7-8D57-86AF4937573A}"/>
          </ac:spMkLst>
        </pc:spChg>
        <pc:spChg chg="del">
          <ac:chgData name="Ronny Georgi" userId="516b13485727eb9a" providerId="LiveId" clId="{FFDE2696-FD0A-4B4E-8F67-360AF9485457}" dt="2022-02-23T18:37:44.565" v="51" actId="478"/>
          <ac:spMkLst>
            <pc:docMk/>
            <pc:sldMk cId="2588455400" sldId="301"/>
            <ac:spMk id="59" creationId="{524F8950-8CBA-4171-B7FA-6202A6876C33}"/>
          </ac:spMkLst>
        </pc:spChg>
        <pc:spChg chg="del">
          <ac:chgData name="Ronny Georgi" userId="516b13485727eb9a" providerId="LiveId" clId="{FFDE2696-FD0A-4B4E-8F67-360AF9485457}" dt="2022-02-23T18:37:44.566" v="52" actId="478"/>
          <ac:spMkLst>
            <pc:docMk/>
            <pc:sldMk cId="2588455400" sldId="301"/>
            <ac:spMk id="63" creationId="{61684392-666A-4D85-90E0-7AB8DE7839F0}"/>
          </ac:spMkLst>
        </pc:spChg>
      </pc:sldChg>
      <pc:sldChg chg="addSp delSp modSp mod">
        <pc:chgData name="Ronny Georgi" userId="516b13485727eb9a" providerId="LiveId" clId="{FFDE2696-FD0A-4B4E-8F67-360AF9485457}" dt="2022-02-23T18:37:45.124" v="166"/>
        <pc:sldMkLst>
          <pc:docMk/>
          <pc:sldMk cId="858770835" sldId="302"/>
        </pc:sldMkLst>
        <pc:spChg chg="add mod">
          <ac:chgData name="Ronny Georgi" userId="516b13485727eb9a" providerId="LiveId" clId="{FFDE2696-FD0A-4B4E-8F67-360AF9485457}" dt="2022-02-23T18:37:44.595" v="53" actId="478"/>
          <ac:spMkLst>
            <pc:docMk/>
            <pc:sldMk cId="858770835" sldId="302"/>
            <ac:spMk id="3" creationId="{6A0B359E-47C7-452F-876E-4D64D6F9C8D4}"/>
          </ac:spMkLst>
        </pc:spChg>
        <pc:spChg chg="mod ord replST">
          <ac:chgData name="Ronny Georgi" userId="516b13485727eb9a" providerId="LiveId" clId="{FFDE2696-FD0A-4B4E-8F67-360AF9485457}" dt="2022-02-23T18:37:45.119" v="165"/>
          <ac:spMkLst>
            <pc:docMk/>
            <pc:sldMk cId="858770835" sldId="302"/>
            <ac:spMk id="4" creationId="{58445438-4EC9-4AC9-8DB8-9E170FD1A781}"/>
          </ac:spMkLst>
        </pc:spChg>
        <pc:spChg chg="replST">
          <ac:chgData name="Ronny Georgi" userId="516b13485727eb9a" providerId="LiveId" clId="{FFDE2696-FD0A-4B4E-8F67-360AF9485457}" dt="2022-02-23T18:37:44.999" v="134"/>
          <ac:spMkLst>
            <pc:docMk/>
            <pc:sldMk cId="858770835" sldId="302"/>
            <ac:spMk id="5" creationId="{94AB23AE-26CB-494D-A726-2C89206F398A}"/>
          </ac:spMkLst>
        </pc:spChg>
        <pc:spChg chg="replST">
          <ac:chgData name="Ronny Georgi" userId="516b13485727eb9a" providerId="LiveId" clId="{FFDE2696-FD0A-4B4E-8F67-360AF9485457}" dt="2022-02-23T18:37:45.024" v="137"/>
          <ac:spMkLst>
            <pc:docMk/>
            <pc:sldMk cId="858770835" sldId="302"/>
            <ac:spMk id="6" creationId="{05F9465A-B83A-459E-A90D-3688D279FB51}"/>
          </ac:spMkLst>
        </pc:spChg>
        <pc:spChg chg="replST">
          <ac:chgData name="Ronny Georgi" userId="516b13485727eb9a" providerId="LiveId" clId="{FFDE2696-FD0A-4B4E-8F67-360AF9485457}" dt="2022-02-23T18:37:45.036" v="139"/>
          <ac:spMkLst>
            <pc:docMk/>
            <pc:sldMk cId="858770835" sldId="302"/>
            <ac:spMk id="7" creationId="{7062BFE5-BAEB-4AA3-9999-92517315E44F}"/>
          </ac:spMkLst>
        </pc:spChg>
        <pc:spChg chg="replST">
          <ac:chgData name="Ronny Georgi" userId="516b13485727eb9a" providerId="LiveId" clId="{FFDE2696-FD0A-4B4E-8F67-360AF9485457}" dt="2022-02-23T18:37:45.041" v="142"/>
          <ac:spMkLst>
            <pc:docMk/>
            <pc:sldMk cId="858770835" sldId="302"/>
            <ac:spMk id="8" creationId="{42039166-0490-44C1-9026-0D79325797EB}"/>
          </ac:spMkLst>
        </pc:spChg>
        <pc:spChg chg="replST">
          <ac:chgData name="Ronny Georgi" userId="516b13485727eb9a" providerId="LiveId" clId="{FFDE2696-FD0A-4B4E-8F67-360AF9485457}" dt="2022-02-23T18:37:45.053" v="145"/>
          <ac:spMkLst>
            <pc:docMk/>
            <pc:sldMk cId="858770835" sldId="302"/>
            <ac:spMk id="9" creationId="{A35A0017-26D3-46A3-86B3-93C416B388D3}"/>
          </ac:spMkLst>
        </pc:spChg>
        <pc:spChg chg="replST">
          <ac:chgData name="Ronny Georgi" userId="516b13485727eb9a" providerId="LiveId" clId="{FFDE2696-FD0A-4B4E-8F67-360AF9485457}" dt="2022-02-23T18:37:45.057" v="147"/>
          <ac:spMkLst>
            <pc:docMk/>
            <pc:sldMk cId="858770835" sldId="302"/>
            <ac:spMk id="10" creationId="{A59741AE-4670-46CA-9D2E-43B0FF575DD6}"/>
          </ac:spMkLst>
        </pc:spChg>
        <pc:spChg chg="ord replST">
          <ac:chgData name="Ronny Georgi" userId="516b13485727eb9a" providerId="LiveId" clId="{FFDE2696-FD0A-4B4E-8F67-360AF9485457}" dt="2022-02-23T18:37:45.124" v="166"/>
          <ac:spMkLst>
            <pc:docMk/>
            <pc:sldMk cId="858770835" sldId="302"/>
            <ac:spMk id="11" creationId="{B319ED7D-C1BF-4394-AC17-F44E1C5CCB0D}"/>
          </ac:spMkLst>
        </pc:spChg>
        <pc:spChg chg="replST">
          <ac:chgData name="Ronny Georgi" userId="516b13485727eb9a" providerId="LiveId" clId="{FFDE2696-FD0A-4B4E-8F67-360AF9485457}" dt="2022-02-23T18:37:45.062" v="151"/>
          <ac:spMkLst>
            <pc:docMk/>
            <pc:sldMk cId="858770835" sldId="302"/>
            <ac:spMk id="12" creationId="{19E74CD9-5FEC-43EB-B4F7-23A9962976CB}"/>
          </ac:spMkLst>
        </pc:spChg>
        <pc:spChg chg="replST">
          <ac:chgData name="Ronny Georgi" userId="516b13485727eb9a" providerId="LiveId" clId="{FFDE2696-FD0A-4B4E-8F67-360AF9485457}" dt="2022-02-23T18:37:45.077" v="154"/>
          <ac:spMkLst>
            <pc:docMk/>
            <pc:sldMk cId="858770835" sldId="302"/>
            <ac:spMk id="13" creationId="{A4740372-5367-4A13-A299-E0A77F0E4D05}"/>
          </ac:spMkLst>
        </pc:spChg>
        <pc:spChg chg="replST">
          <ac:chgData name="Ronny Georgi" userId="516b13485727eb9a" providerId="LiveId" clId="{FFDE2696-FD0A-4B4E-8F67-360AF9485457}" dt="2022-02-23T18:37:45.094" v="156"/>
          <ac:spMkLst>
            <pc:docMk/>
            <pc:sldMk cId="858770835" sldId="302"/>
            <ac:spMk id="14" creationId="{B0D3791E-7F80-4C78-8167-5CAED50DB645}"/>
          </ac:spMkLst>
        </pc:spChg>
        <pc:spChg chg="replST">
          <ac:chgData name="Ronny Georgi" userId="516b13485727eb9a" providerId="LiveId" clId="{FFDE2696-FD0A-4B4E-8F67-360AF9485457}" dt="2022-02-23T18:37:45.100" v="159"/>
          <ac:spMkLst>
            <pc:docMk/>
            <pc:sldMk cId="858770835" sldId="302"/>
            <ac:spMk id="15" creationId="{F65135A9-1839-417B-A7FC-F62FB6F4245B}"/>
          </ac:spMkLst>
        </pc:spChg>
        <pc:spChg chg="replST">
          <ac:chgData name="Ronny Georgi" userId="516b13485727eb9a" providerId="LiveId" clId="{FFDE2696-FD0A-4B4E-8F67-360AF9485457}" dt="2022-02-23T18:37:45.111" v="162"/>
          <ac:spMkLst>
            <pc:docMk/>
            <pc:sldMk cId="858770835" sldId="302"/>
            <ac:spMk id="16" creationId="{9E6B93E5-E431-46B7-AC3C-C0881009CE89}"/>
          </ac:spMkLst>
        </pc:spChg>
        <pc:spChg chg="replST">
          <ac:chgData name="Ronny Georgi" userId="516b13485727eb9a" providerId="LiveId" clId="{FFDE2696-FD0A-4B4E-8F67-360AF9485457}" dt="2022-02-23T18:37:45.117" v="164"/>
          <ac:spMkLst>
            <pc:docMk/>
            <pc:sldMk cId="858770835" sldId="302"/>
            <ac:spMk id="17" creationId="{1AB34D77-4645-46B0-8C1B-245D119F258B}"/>
          </ac:spMkLst>
        </pc:spChg>
        <pc:spChg chg="del">
          <ac:chgData name="Ronny Georgi" userId="516b13485727eb9a" providerId="LiveId" clId="{FFDE2696-FD0A-4B4E-8F67-360AF9485457}" dt="2022-02-23T18:37:44.595" v="53" actId="478"/>
          <ac:spMkLst>
            <pc:docMk/>
            <pc:sldMk cId="858770835" sldId="302"/>
            <ac:spMk id="59" creationId="{C8F7208F-8E2C-48C5-952F-188074E61AF4}"/>
          </ac:spMkLst>
        </pc:spChg>
        <pc:spChg chg="del">
          <ac:chgData name="Ronny Georgi" userId="516b13485727eb9a" providerId="LiveId" clId="{FFDE2696-FD0A-4B4E-8F67-360AF9485457}" dt="2022-02-23T18:37:44.598" v="54" actId="478"/>
          <ac:spMkLst>
            <pc:docMk/>
            <pc:sldMk cId="858770835" sldId="302"/>
            <ac:spMk id="66" creationId="{1AA10B75-F04E-4800-83EA-C3F1F6A365AA}"/>
          </ac:spMkLst>
        </pc:spChg>
      </pc:sldChg>
      <pc:sldChg chg="addSp delSp modSp mod">
        <pc:chgData name="Ronny Georgi" userId="516b13485727eb9a" providerId="LiveId" clId="{FFDE2696-FD0A-4B4E-8F67-360AF9485457}" dt="2022-02-23T18:37:45.283" v="203"/>
        <pc:sldMkLst>
          <pc:docMk/>
          <pc:sldMk cId="2105151646" sldId="303"/>
        </pc:sldMkLst>
        <pc:spChg chg="add mod">
          <ac:chgData name="Ronny Georgi" userId="516b13485727eb9a" providerId="LiveId" clId="{FFDE2696-FD0A-4B4E-8F67-360AF9485457}" dt="2022-02-23T18:37:44.621" v="55" actId="478"/>
          <ac:spMkLst>
            <pc:docMk/>
            <pc:sldMk cId="2105151646" sldId="303"/>
            <ac:spMk id="3" creationId="{A36A317F-1106-4022-A3E1-73E20DBCC9BC}"/>
          </ac:spMkLst>
        </pc:spChg>
        <pc:spChg chg="mod ord replST">
          <ac:chgData name="Ronny Georgi" userId="516b13485727eb9a" providerId="LiveId" clId="{FFDE2696-FD0A-4B4E-8F67-360AF9485457}" dt="2022-02-23T18:37:45.276" v="202"/>
          <ac:spMkLst>
            <pc:docMk/>
            <pc:sldMk cId="2105151646" sldId="303"/>
            <ac:spMk id="4" creationId="{FF7FF5A9-07D3-469C-A31D-910D7BAB007C}"/>
          </ac:spMkLst>
        </pc:spChg>
        <pc:spChg chg="replST">
          <ac:chgData name="Ronny Georgi" userId="516b13485727eb9a" providerId="LiveId" clId="{FFDE2696-FD0A-4B4E-8F67-360AF9485457}" dt="2022-02-23T18:37:45.166" v="171"/>
          <ac:spMkLst>
            <pc:docMk/>
            <pc:sldMk cId="2105151646" sldId="303"/>
            <ac:spMk id="5" creationId="{63AE37F0-3472-4662-BA1C-4EF831CE23C7}"/>
          </ac:spMkLst>
        </pc:spChg>
        <pc:spChg chg="replST">
          <ac:chgData name="Ronny Georgi" userId="516b13485727eb9a" providerId="LiveId" clId="{FFDE2696-FD0A-4B4E-8F67-360AF9485457}" dt="2022-02-23T18:37:45.175" v="174"/>
          <ac:spMkLst>
            <pc:docMk/>
            <pc:sldMk cId="2105151646" sldId="303"/>
            <ac:spMk id="6" creationId="{C098202F-9DDC-414B-B62A-376F7CE0E38A}"/>
          </ac:spMkLst>
        </pc:spChg>
        <pc:spChg chg="replST">
          <ac:chgData name="Ronny Georgi" userId="516b13485727eb9a" providerId="LiveId" clId="{FFDE2696-FD0A-4B4E-8F67-360AF9485457}" dt="2022-02-23T18:37:45.181" v="176"/>
          <ac:spMkLst>
            <pc:docMk/>
            <pc:sldMk cId="2105151646" sldId="303"/>
            <ac:spMk id="7" creationId="{15D32A73-E977-4183-9CA8-73602089AA2E}"/>
          </ac:spMkLst>
        </pc:spChg>
        <pc:spChg chg="replST">
          <ac:chgData name="Ronny Georgi" userId="516b13485727eb9a" providerId="LiveId" clId="{FFDE2696-FD0A-4B4E-8F67-360AF9485457}" dt="2022-02-23T18:37:45.185" v="179"/>
          <ac:spMkLst>
            <pc:docMk/>
            <pc:sldMk cId="2105151646" sldId="303"/>
            <ac:spMk id="8" creationId="{BBE486FF-F3C1-4BC2-ABFB-DAD6A263092B}"/>
          </ac:spMkLst>
        </pc:spChg>
        <pc:spChg chg="replST">
          <ac:chgData name="Ronny Georgi" userId="516b13485727eb9a" providerId="LiveId" clId="{FFDE2696-FD0A-4B4E-8F67-360AF9485457}" dt="2022-02-23T18:37:45.198" v="182"/>
          <ac:spMkLst>
            <pc:docMk/>
            <pc:sldMk cId="2105151646" sldId="303"/>
            <ac:spMk id="9" creationId="{EE9E92C3-BE7A-4289-A818-7B47C6236ACD}"/>
          </ac:spMkLst>
        </pc:spChg>
        <pc:spChg chg="replST">
          <ac:chgData name="Ronny Georgi" userId="516b13485727eb9a" providerId="LiveId" clId="{FFDE2696-FD0A-4B4E-8F67-360AF9485457}" dt="2022-02-23T18:37:45.208" v="184"/>
          <ac:spMkLst>
            <pc:docMk/>
            <pc:sldMk cId="2105151646" sldId="303"/>
            <ac:spMk id="10" creationId="{352F8299-08AA-432A-91FC-E84737CDBE2F}"/>
          </ac:spMkLst>
        </pc:spChg>
        <pc:spChg chg="replST">
          <ac:chgData name="Ronny Georgi" userId="516b13485727eb9a" providerId="LiveId" clId="{FFDE2696-FD0A-4B4E-8F67-360AF9485457}" dt="2022-02-23T18:37:45.222" v="187"/>
          <ac:spMkLst>
            <pc:docMk/>
            <pc:sldMk cId="2105151646" sldId="303"/>
            <ac:spMk id="11" creationId="{CD5DA2EE-A44D-4B0D-A4AC-32049018B536}"/>
          </ac:spMkLst>
        </pc:spChg>
        <pc:spChg chg="replST">
          <ac:chgData name="Ronny Georgi" userId="516b13485727eb9a" providerId="LiveId" clId="{FFDE2696-FD0A-4B4E-8F67-360AF9485457}" dt="2022-02-23T18:37:45.239" v="190"/>
          <ac:spMkLst>
            <pc:docMk/>
            <pc:sldMk cId="2105151646" sldId="303"/>
            <ac:spMk id="12" creationId="{8BA027A4-58E8-4082-A4DD-158508F6E463}"/>
          </ac:spMkLst>
        </pc:spChg>
        <pc:spChg chg="replST">
          <ac:chgData name="Ronny Georgi" userId="516b13485727eb9a" providerId="LiveId" clId="{FFDE2696-FD0A-4B4E-8F67-360AF9485457}" dt="2022-02-23T18:37:45.249" v="192"/>
          <ac:spMkLst>
            <pc:docMk/>
            <pc:sldMk cId="2105151646" sldId="303"/>
            <ac:spMk id="13" creationId="{B2FA604A-E731-4295-99F1-75D3C6EAA1EA}"/>
          </ac:spMkLst>
        </pc:spChg>
        <pc:spChg chg="ord replST">
          <ac:chgData name="Ronny Georgi" userId="516b13485727eb9a" providerId="LiveId" clId="{FFDE2696-FD0A-4B4E-8F67-360AF9485457}" dt="2022-02-23T18:37:45.283" v="203"/>
          <ac:spMkLst>
            <pc:docMk/>
            <pc:sldMk cId="2105151646" sldId="303"/>
            <ac:spMk id="14" creationId="{A03A787B-CEAD-4F1E-8132-C7615389618A}"/>
          </ac:spMkLst>
        </pc:spChg>
        <pc:spChg chg="replST">
          <ac:chgData name="Ronny Georgi" userId="516b13485727eb9a" providerId="LiveId" clId="{FFDE2696-FD0A-4B4E-8F67-360AF9485457}" dt="2022-02-23T18:37:45.257" v="196"/>
          <ac:spMkLst>
            <pc:docMk/>
            <pc:sldMk cId="2105151646" sldId="303"/>
            <ac:spMk id="15" creationId="{46B1CF18-D72F-4D95-9532-83DB1E91B291}"/>
          </ac:spMkLst>
        </pc:spChg>
        <pc:spChg chg="replST">
          <ac:chgData name="Ronny Georgi" userId="516b13485727eb9a" providerId="LiveId" clId="{FFDE2696-FD0A-4B4E-8F67-360AF9485457}" dt="2022-02-23T18:37:45.271" v="199"/>
          <ac:spMkLst>
            <pc:docMk/>
            <pc:sldMk cId="2105151646" sldId="303"/>
            <ac:spMk id="16" creationId="{8039C32C-EF2B-4784-BAD8-C85FA36B7CC9}"/>
          </ac:spMkLst>
        </pc:spChg>
        <pc:spChg chg="replST">
          <ac:chgData name="Ronny Georgi" userId="516b13485727eb9a" providerId="LiveId" clId="{FFDE2696-FD0A-4B4E-8F67-360AF9485457}" dt="2022-02-23T18:37:45.276" v="201"/>
          <ac:spMkLst>
            <pc:docMk/>
            <pc:sldMk cId="2105151646" sldId="303"/>
            <ac:spMk id="17" creationId="{021B27BE-B968-473A-BF0C-5D3AB96588FF}"/>
          </ac:spMkLst>
        </pc:spChg>
        <pc:spChg chg="del">
          <ac:chgData name="Ronny Georgi" userId="516b13485727eb9a" providerId="LiveId" clId="{FFDE2696-FD0A-4B4E-8F67-360AF9485457}" dt="2022-02-23T18:37:44.621" v="55" actId="478"/>
          <ac:spMkLst>
            <pc:docMk/>
            <pc:sldMk cId="2105151646" sldId="303"/>
            <ac:spMk id="59" creationId="{1E87B753-C544-4545-8233-D8695D77B553}"/>
          </ac:spMkLst>
        </pc:spChg>
        <pc:spChg chg="del">
          <ac:chgData name="Ronny Georgi" userId="516b13485727eb9a" providerId="LiveId" clId="{FFDE2696-FD0A-4B4E-8F67-360AF9485457}" dt="2022-02-23T18:37:44.624" v="56" actId="478"/>
          <ac:spMkLst>
            <pc:docMk/>
            <pc:sldMk cId="2105151646" sldId="303"/>
            <ac:spMk id="69" creationId="{3B895088-349F-443F-8946-501C339DB2F1}"/>
          </ac:spMkLst>
        </pc:spChg>
      </pc:sldChg>
      <pc:sldChg chg="delSp modSp mod">
        <pc:chgData name="Ronny Georgi" userId="516b13485727eb9a" providerId="LiveId" clId="{FFDE2696-FD0A-4B4E-8F67-360AF9485457}" dt="2022-02-24T02:01:03.033" v="772" actId="478"/>
        <pc:sldMkLst>
          <pc:docMk/>
          <pc:sldMk cId="3330967742" sldId="317"/>
        </pc:sldMkLst>
        <pc:spChg chg="del">
          <ac:chgData name="Ronny Georgi" userId="516b13485727eb9a" providerId="LiveId" clId="{FFDE2696-FD0A-4B4E-8F67-360AF9485457}" dt="2022-02-24T02:01:03.033" v="772" actId="478"/>
          <ac:spMkLst>
            <pc:docMk/>
            <pc:sldMk cId="3330967742" sldId="317"/>
            <ac:spMk id="5" creationId="{BE63C81D-D613-4C20-B9BA-9DD2878E5C3B}"/>
          </ac:spMkLst>
        </pc:spChg>
        <pc:spChg chg="mod">
          <ac:chgData name="Ronny Georgi" userId="516b13485727eb9a" providerId="LiveId" clId="{FFDE2696-FD0A-4B4E-8F67-360AF9485457}" dt="2022-02-24T02:00:05.177" v="771" actId="5793"/>
          <ac:spMkLst>
            <pc:docMk/>
            <pc:sldMk cId="3330967742" sldId="317"/>
            <ac:spMk id="8" creationId="{59100D29-0C77-45D4-B624-F12310E7EBF1}"/>
          </ac:spMkLst>
        </pc:spChg>
        <pc:picChg chg="del">
          <ac:chgData name="Ronny Georgi" userId="516b13485727eb9a" providerId="LiveId" clId="{FFDE2696-FD0A-4B4E-8F67-360AF9485457}" dt="2022-02-24T01:54:40.680" v="571" actId="478"/>
          <ac:picMkLst>
            <pc:docMk/>
            <pc:sldMk cId="3330967742" sldId="317"/>
            <ac:picMk id="14" creationId="{EF69100D-6EF7-4BAF-AD70-90F5824D2FAA}"/>
          </ac:picMkLst>
        </pc:picChg>
      </pc:sldChg>
      <pc:sldChg chg="addSp delSp add mod ord">
        <pc:chgData name="Ronny Georgi" userId="516b13485727eb9a" providerId="LiveId" clId="{FFDE2696-FD0A-4B4E-8F67-360AF9485457}" dt="2022-02-27T12:35:45.859" v="1052" actId="22"/>
        <pc:sldMkLst>
          <pc:docMk/>
          <pc:sldMk cId="1726543056" sldId="321"/>
        </pc:sldMkLst>
        <pc:spChg chg="add del">
          <ac:chgData name="Ronny Georgi" userId="516b13485727eb9a" providerId="LiveId" clId="{FFDE2696-FD0A-4B4E-8F67-360AF9485457}" dt="2022-02-27T12:35:45.859" v="1052" actId="22"/>
          <ac:spMkLst>
            <pc:docMk/>
            <pc:sldMk cId="1726543056" sldId="321"/>
            <ac:spMk id="7" creationId="{83E0850D-612D-45F8-B6C3-9CE3D2907CD0}"/>
          </ac:spMkLst>
        </pc:spChg>
      </pc:sldChg>
      <pc:sldChg chg="addSp delSp modSp mod">
        <pc:chgData name="Ronny Georgi" userId="516b13485727eb9a" providerId="LiveId" clId="{FFDE2696-FD0A-4B4E-8F67-360AF9485457}" dt="2022-02-27T12:13:13.429" v="1044" actId="20577"/>
        <pc:sldMkLst>
          <pc:docMk/>
          <pc:sldMk cId="1583462853" sldId="330"/>
        </pc:sldMkLst>
        <pc:spChg chg="del">
          <ac:chgData name="Ronny Georgi" userId="516b13485727eb9a" providerId="LiveId" clId="{FFDE2696-FD0A-4B4E-8F67-360AF9485457}" dt="2022-02-24T15:57:47.564" v="900" actId="478"/>
          <ac:spMkLst>
            <pc:docMk/>
            <pc:sldMk cId="1583462853" sldId="330"/>
            <ac:spMk id="8" creationId="{C32826EE-6FBC-4169-9DEE-B81E2CDE21D6}"/>
          </ac:spMkLst>
        </pc:spChg>
        <pc:spChg chg="mod">
          <ac:chgData name="Ronny Georgi" userId="516b13485727eb9a" providerId="LiveId" clId="{FFDE2696-FD0A-4B4E-8F67-360AF9485457}" dt="2022-02-27T12:13:13.429" v="1044" actId="20577"/>
          <ac:spMkLst>
            <pc:docMk/>
            <pc:sldMk cId="1583462853" sldId="330"/>
            <ac:spMk id="646" creationId="{00000000-0000-0000-0000-000000000000}"/>
          </ac:spMkLst>
        </pc:spChg>
        <pc:picChg chg="add mod">
          <ac:chgData name="Ronny Georgi" userId="516b13485727eb9a" providerId="LiveId" clId="{FFDE2696-FD0A-4B4E-8F67-360AF9485457}" dt="2022-02-27T12:13:01.113" v="1013" actId="14100"/>
          <ac:picMkLst>
            <pc:docMk/>
            <pc:sldMk cId="1583462853" sldId="330"/>
            <ac:picMk id="3" creationId="{C0EBCE03-7E2A-42F2-884E-B4025F91DE0C}"/>
          </ac:picMkLst>
        </pc:picChg>
        <pc:picChg chg="add del mod">
          <ac:chgData name="Ronny Georgi" userId="516b13485727eb9a" providerId="LiveId" clId="{FFDE2696-FD0A-4B4E-8F67-360AF9485457}" dt="2022-02-24T15:56:43.468" v="895" actId="478"/>
          <ac:picMkLst>
            <pc:docMk/>
            <pc:sldMk cId="1583462853" sldId="330"/>
            <ac:picMk id="4" creationId="{0C9EF284-AE3E-4684-A88C-3C294876A992}"/>
          </ac:picMkLst>
        </pc:picChg>
      </pc:sldChg>
      <pc:sldChg chg="addSp delSp modSp add del mod">
        <pc:chgData name="Ronny Georgi" userId="516b13485727eb9a" providerId="LiveId" clId="{FFDE2696-FD0A-4B4E-8F67-360AF9485457}" dt="2022-02-27T12:12:51.645" v="1011" actId="47"/>
        <pc:sldMkLst>
          <pc:docMk/>
          <pc:sldMk cId="3706112271" sldId="331"/>
        </pc:sldMkLst>
        <pc:spChg chg="mod ord">
          <ac:chgData name="Ronny Georgi" userId="516b13485727eb9a" providerId="LiveId" clId="{FFDE2696-FD0A-4B4E-8F67-360AF9485457}" dt="2022-02-24T15:54:40.900" v="866" actId="14100"/>
          <ac:spMkLst>
            <pc:docMk/>
            <pc:sldMk cId="3706112271" sldId="331"/>
            <ac:spMk id="4" creationId="{25BF94CF-1B7B-4DD0-8F49-3DCA5ACCAC68}"/>
          </ac:spMkLst>
        </pc:spChg>
        <pc:spChg chg="del">
          <ac:chgData name="Ronny Georgi" userId="516b13485727eb9a" providerId="LiveId" clId="{FFDE2696-FD0A-4B4E-8F67-360AF9485457}" dt="2022-02-24T15:53:29.253" v="825" actId="478"/>
          <ac:spMkLst>
            <pc:docMk/>
            <pc:sldMk cId="3706112271" sldId="331"/>
            <ac:spMk id="6" creationId="{9EC9DB9B-6565-46DC-9F2E-A598C622296D}"/>
          </ac:spMkLst>
        </pc:spChg>
        <pc:spChg chg="del">
          <ac:chgData name="Ronny Georgi" userId="516b13485727eb9a" providerId="LiveId" clId="{FFDE2696-FD0A-4B4E-8F67-360AF9485457}" dt="2022-02-24T15:53:26.935" v="824" actId="478"/>
          <ac:spMkLst>
            <pc:docMk/>
            <pc:sldMk cId="3706112271" sldId="331"/>
            <ac:spMk id="7" creationId="{23E5BC34-A807-4258-A356-2990C169CE53}"/>
          </ac:spMkLst>
        </pc:spChg>
        <pc:spChg chg="mod">
          <ac:chgData name="Ronny Georgi" userId="516b13485727eb9a" providerId="LiveId" clId="{FFDE2696-FD0A-4B4E-8F67-360AF9485457}" dt="2022-02-24T02:03:50.210" v="822" actId="20577"/>
          <ac:spMkLst>
            <pc:docMk/>
            <pc:sldMk cId="3706112271" sldId="331"/>
            <ac:spMk id="646" creationId="{00000000-0000-0000-0000-000000000000}"/>
          </ac:spMkLst>
        </pc:spChg>
        <pc:picChg chg="mod">
          <ac:chgData name="Ronny Georgi" userId="516b13485727eb9a" providerId="LiveId" clId="{FFDE2696-FD0A-4B4E-8F67-360AF9485457}" dt="2022-02-24T15:54:25.230" v="838" actId="1076"/>
          <ac:picMkLst>
            <pc:docMk/>
            <pc:sldMk cId="3706112271" sldId="331"/>
            <ac:picMk id="3" creationId="{73D116F3-9727-46A6-85C9-C9D2875E962B}"/>
          </ac:picMkLst>
        </pc:picChg>
        <pc:picChg chg="del">
          <ac:chgData name="Ronny Georgi" userId="516b13485727eb9a" providerId="LiveId" clId="{FFDE2696-FD0A-4B4E-8F67-360AF9485457}" dt="2022-02-24T15:53:32.330" v="826" actId="478"/>
          <ac:picMkLst>
            <pc:docMk/>
            <pc:sldMk cId="3706112271" sldId="331"/>
            <ac:picMk id="5" creationId="{FDA0280B-96AF-4010-A831-EA5814626D28}"/>
          </ac:picMkLst>
        </pc:picChg>
        <pc:picChg chg="add mod">
          <ac:chgData name="Ronny Georgi" userId="516b13485727eb9a" providerId="LiveId" clId="{FFDE2696-FD0A-4B4E-8F67-360AF9485457}" dt="2022-02-24T15:54:21.981" v="837" actId="14100"/>
          <ac:picMkLst>
            <pc:docMk/>
            <pc:sldMk cId="3706112271" sldId="331"/>
            <ac:picMk id="8" creationId="{1FDC4C15-A305-47F0-AE9A-9536B19B754D}"/>
          </ac:picMkLst>
        </pc:picChg>
      </pc:sldChg>
      <pc:sldChg chg="modSp del mod">
        <pc:chgData name="Ronny Georgi" userId="516b13485727eb9a" providerId="LiveId" clId="{FFDE2696-FD0A-4B4E-8F67-360AF9485457}" dt="2022-02-27T12:37:39.321" v="1080" actId="47"/>
        <pc:sldMkLst>
          <pc:docMk/>
          <pc:sldMk cId="3779803427" sldId="332"/>
        </pc:sldMkLst>
        <pc:spChg chg="mod">
          <ac:chgData name="Ronny Georgi" userId="516b13485727eb9a" providerId="LiveId" clId="{FFDE2696-FD0A-4B4E-8F67-360AF9485457}" dt="2022-02-24T15:55:17.866" v="879" actId="20577"/>
          <ac:spMkLst>
            <pc:docMk/>
            <pc:sldMk cId="3779803427" sldId="332"/>
            <ac:spMk id="4" creationId="{63C11F22-C0C4-410F-A942-EDDF890800D7}"/>
          </ac:spMkLst>
        </pc:spChg>
      </pc:sldChg>
      <pc:sldChg chg="addSp delSp modSp mod">
        <pc:chgData name="Ronny Georgi" userId="516b13485727eb9a" providerId="LiveId" clId="{FFDE2696-FD0A-4B4E-8F67-360AF9485457}" dt="2022-02-23T18:37:45.580" v="243" actId="20577"/>
        <pc:sldMkLst>
          <pc:docMk/>
          <pc:sldMk cId="3517640387" sldId="348"/>
        </pc:sldMkLst>
        <pc:spChg chg="add mod">
          <ac:chgData name="Ronny Georgi" userId="516b13485727eb9a" providerId="LiveId" clId="{FFDE2696-FD0A-4B4E-8F67-360AF9485457}" dt="2022-02-23T18:37:45.573" v="241" actId="478"/>
          <ac:spMkLst>
            <pc:docMk/>
            <pc:sldMk cId="3517640387" sldId="348"/>
            <ac:spMk id="3" creationId="{FE7EAD28-E926-49A6-BAA9-A6241ADE8D3A}"/>
          </ac:spMkLst>
        </pc:spChg>
        <pc:spChg chg="mod replST">
          <ac:chgData name="Ronny Georgi" userId="516b13485727eb9a" providerId="LiveId" clId="{FFDE2696-FD0A-4B4E-8F67-360AF9485457}" dt="2022-02-23T18:37:45.580" v="243" actId="20577"/>
          <ac:spMkLst>
            <pc:docMk/>
            <pc:sldMk cId="3517640387" sldId="348"/>
            <ac:spMk id="4" creationId="{71A9075E-801A-4B77-8FFB-15E88FDAEEE0}"/>
          </ac:spMkLst>
        </pc:spChg>
        <pc:spChg chg="del">
          <ac:chgData name="Ronny Georgi" userId="516b13485727eb9a" providerId="LiveId" clId="{FFDE2696-FD0A-4B4E-8F67-360AF9485457}" dt="2022-02-23T18:37:45.573" v="241" actId="478"/>
          <ac:spMkLst>
            <pc:docMk/>
            <pc:sldMk cId="3517640387" sldId="348"/>
            <ac:spMk id="10" creationId="{6835188E-5621-4A26-9366-26A02178622D}"/>
          </ac:spMkLst>
        </pc:spChg>
      </pc:sldChg>
      <pc:sldChg chg="addSp delSp modSp mod">
        <pc:chgData name="Ronny Georgi" userId="516b13485727eb9a" providerId="LiveId" clId="{FFDE2696-FD0A-4B4E-8F67-360AF9485457}" dt="2022-02-24T01:52:38.590" v="537" actId="1076"/>
        <pc:sldMkLst>
          <pc:docMk/>
          <pc:sldMk cId="2206461608" sldId="349"/>
        </pc:sldMkLst>
        <pc:spChg chg="del">
          <ac:chgData name="Ronny Georgi" userId="516b13485727eb9a" providerId="LiveId" clId="{FFDE2696-FD0A-4B4E-8F67-360AF9485457}" dt="2022-02-24T01:44:05.210" v="416" actId="478"/>
          <ac:spMkLst>
            <pc:docMk/>
            <pc:sldMk cId="2206461608" sldId="349"/>
            <ac:spMk id="22" creationId="{18401C49-B9C9-4957-B3DA-8549CCEEAE5E}"/>
          </ac:spMkLst>
        </pc:spChg>
        <pc:spChg chg="mod">
          <ac:chgData name="Ronny Georgi" userId="516b13485727eb9a" providerId="LiveId" clId="{FFDE2696-FD0A-4B4E-8F67-360AF9485457}" dt="2022-02-24T01:52:38.590" v="537" actId="1076"/>
          <ac:spMkLst>
            <pc:docMk/>
            <pc:sldMk cId="2206461608" sldId="349"/>
            <ac:spMk id="23" creationId="{348C03E6-AF50-4BE4-B2E9-0F205FFA6FC3}"/>
          </ac:spMkLst>
        </pc:spChg>
        <pc:graphicFrameChg chg="mod">
          <ac:chgData name="Ronny Georgi" userId="516b13485727eb9a" providerId="LiveId" clId="{FFDE2696-FD0A-4B4E-8F67-360AF9485457}" dt="2022-02-24T01:50:40.943" v="518" actId="1076"/>
          <ac:graphicFrameMkLst>
            <pc:docMk/>
            <pc:sldMk cId="2206461608" sldId="349"/>
            <ac:graphicFrameMk id="4" creationId="{69DC80EE-04A2-4870-8E0B-D4839A5234F4}"/>
          </ac:graphicFrameMkLst>
        </pc:graphicFrameChg>
        <pc:picChg chg="mod">
          <ac:chgData name="Ronny Georgi" userId="516b13485727eb9a" providerId="LiveId" clId="{FFDE2696-FD0A-4B4E-8F67-360AF9485457}" dt="2022-02-24T01:44:43.920" v="426" actId="1076"/>
          <ac:picMkLst>
            <pc:docMk/>
            <pc:sldMk cId="2206461608" sldId="349"/>
            <ac:picMk id="9" creationId="{8365D0B4-A951-4707-8F90-304C042A7989}"/>
          </ac:picMkLst>
        </pc:picChg>
        <pc:picChg chg="mod">
          <ac:chgData name="Ronny Georgi" userId="516b13485727eb9a" providerId="LiveId" clId="{FFDE2696-FD0A-4B4E-8F67-360AF9485457}" dt="2022-02-24T01:44:34.549" v="423" actId="1076"/>
          <ac:picMkLst>
            <pc:docMk/>
            <pc:sldMk cId="2206461608" sldId="349"/>
            <ac:picMk id="11" creationId="{ECD71318-6FA9-4C9E-BC39-5C7C3953E58D}"/>
          </ac:picMkLst>
        </pc:picChg>
        <pc:picChg chg="mod">
          <ac:chgData name="Ronny Georgi" userId="516b13485727eb9a" providerId="LiveId" clId="{FFDE2696-FD0A-4B4E-8F67-360AF9485457}" dt="2022-02-24T01:44:34.086" v="422" actId="1076"/>
          <ac:picMkLst>
            <pc:docMk/>
            <pc:sldMk cId="2206461608" sldId="349"/>
            <ac:picMk id="15" creationId="{660FA9C7-D2D6-4483-B12B-868EF13BBF4B}"/>
          </ac:picMkLst>
        </pc:picChg>
        <pc:picChg chg="mod">
          <ac:chgData name="Ronny Georgi" userId="516b13485727eb9a" providerId="LiveId" clId="{FFDE2696-FD0A-4B4E-8F67-360AF9485457}" dt="2022-02-24T01:48:25.228" v="490"/>
          <ac:picMkLst>
            <pc:docMk/>
            <pc:sldMk cId="2206461608" sldId="349"/>
            <ac:picMk id="16" creationId="{EE78299B-2054-4DD5-9BAC-B078546CFDF6}"/>
          </ac:picMkLst>
        </pc:picChg>
        <pc:picChg chg="mod">
          <ac:chgData name="Ronny Georgi" userId="516b13485727eb9a" providerId="LiveId" clId="{FFDE2696-FD0A-4B4E-8F67-360AF9485457}" dt="2022-02-24T01:48:32.012" v="502" actId="408"/>
          <ac:picMkLst>
            <pc:docMk/>
            <pc:sldMk cId="2206461608" sldId="349"/>
            <ac:picMk id="17" creationId="{73E9D33A-D992-4E4B-8F2A-B2437678EB21}"/>
          </ac:picMkLst>
        </pc:picChg>
        <pc:picChg chg="mod">
          <ac:chgData name="Ronny Georgi" userId="516b13485727eb9a" providerId="LiveId" clId="{FFDE2696-FD0A-4B4E-8F67-360AF9485457}" dt="2022-02-24T01:48:32.012" v="502" actId="408"/>
          <ac:picMkLst>
            <pc:docMk/>
            <pc:sldMk cId="2206461608" sldId="349"/>
            <ac:picMk id="18" creationId="{E00469C6-3E0D-4732-88B1-84CCF88C880C}"/>
          </ac:picMkLst>
        </pc:picChg>
        <pc:picChg chg="mod">
          <ac:chgData name="Ronny Georgi" userId="516b13485727eb9a" providerId="LiveId" clId="{FFDE2696-FD0A-4B4E-8F67-360AF9485457}" dt="2022-02-24T01:48:32.012" v="502" actId="408"/>
          <ac:picMkLst>
            <pc:docMk/>
            <pc:sldMk cId="2206461608" sldId="349"/>
            <ac:picMk id="19" creationId="{C0461A3E-01EA-426F-95ED-DB24BF614F28}"/>
          </ac:picMkLst>
        </pc:picChg>
        <pc:picChg chg="mod">
          <ac:chgData name="Ronny Georgi" userId="516b13485727eb9a" providerId="LiveId" clId="{FFDE2696-FD0A-4B4E-8F67-360AF9485457}" dt="2022-02-24T01:51:26.674" v="532"/>
          <ac:picMkLst>
            <pc:docMk/>
            <pc:sldMk cId="2206461608" sldId="349"/>
            <ac:picMk id="20" creationId="{345B515B-8F56-4187-9D18-D9B8318D9B8E}"/>
          </ac:picMkLst>
        </pc:picChg>
        <pc:picChg chg="mod">
          <ac:chgData name="Ronny Georgi" userId="516b13485727eb9a" providerId="LiveId" clId="{FFDE2696-FD0A-4B4E-8F67-360AF9485457}" dt="2022-02-24T01:51:26.676" v="534"/>
          <ac:picMkLst>
            <pc:docMk/>
            <pc:sldMk cId="2206461608" sldId="349"/>
            <ac:picMk id="21" creationId="{BD24004F-F034-4604-90B4-EB3B78C33CF4}"/>
          </ac:picMkLst>
        </pc:picChg>
        <pc:picChg chg="mod">
          <ac:chgData name="Ronny Georgi" userId="516b13485727eb9a" providerId="LiveId" clId="{FFDE2696-FD0A-4B4E-8F67-360AF9485457}" dt="2022-02-24T01:51:26.677" v="536"/>
          <ac:picMkLst>
            <pc:docMk/>
            <pc:sldMk cId="2206461608" sldId="349"/>
            <ac:picMk id="24" creationId="{55D77B18-DB9B-4D8C-B605-8392D75A4A41}"/>
          </ac:picMkLst>
        </pc:picChg>
        <pc:picChg chg="mod">
          <ac:chgData name="Ronny Georgi" userId="516b13485727eb9a" providerId="LiveId" clId="{FFDE2696-FD0A-4B4E-8F67-360AF9485457}" dt="2022-02-24T01:51:02.999" v="527" actId="1076"/>
          <ac:picMkLst>
            <pc:docMk/>
            <pc:sldMk cId="2206461608" sldId="349"/>
            <ac:picMk id="25" creationId="{D5EA884D-AAD1-4B52-8CA0-0C24C93643CC}"/>
          </ac:picMkLst>
        </pc:picChg>
        <pc:picChg chg="add mod">
          <ac:chgData name="Ronny Georgi" userId="516b13485727eb9a" providerId="LiveId" clId="{FFDE2696-FD0A-4B4E-8F67-360AF9485457}" dt="2022-02-24T01:47:47.480" v="448" actId="1076"/>
          <ac:picMkLst>
            <pc:docMk/>
            <pc:sldMk cId="2206461608" sldId="349"/>
            <ac:picMk id="26" creationId="{6590A9BF-6014-420A-837E-A7763EA05912}"/>
          </ac:picMkLst>
        </pc:picChg>
        <pc:picChg chg="add mod">
          <ac:chgData name="Ronny Georgi" userId="516b13485727eb9a" providerId="LiveId" clId="{FFDE2696-FD0A-4B4E-8F67-360AF9485457}" dt="2022-02-24T01:48:32.012" v="502" actId="408"/>
          <ac:picMkLst>
            <pc:docMk/>
            <pc:sldMk cId="2206461608" sldId="349"/>
            <ac:picMk id="27" creationId="{E3C6340D-1394-4EB3-BE4D-C2CCC52A04D4}"/>
          </ac:picMkLst>
        </pc:picChg>
        <pc:picChg chg="add mod">
          <ac:chgData name="Ronny Georgi" userId="516b13485727eb9a" providerId="LiveId" clId="{FFDE2696-FD0A-4B4E-8F67-360AF9485457}" dt="2022-02-24T01:48:32.012" v="502" actId="408"/>
          <ac:picMkLst>
            <pc:docMk/>
            <pc:sldMk cId="2206461608" sldId="349"/>
            <ac:picMk id="28" creationId="{EB283156-4029-4F2C-A04A-59F02D9CAE7C}"/>
          </ac:picMkLst>
        </pc:picChg>
      </pc:sldChg>
      <pc:sldChg chg="del">
        <pc:chgData name="Ronny Georgi" userId="516b13485727eb9a" providerId="LiveId" clId="{FFDE2696-FD0A-4B4E-8F67-360AF9485457}" dt="2022-02-24T15:53:19.969" v="823" actId="47"/>
        <pc:sldMkLst>
          <pc:docMk/>
          <pc:sldMk cId="3593701520" sldId="350"/>
        </pc:sldMkLst>
      </pc:sldChg>
      <pc:sldChg chg="addSp delSp modSp del mod">
        <pc:chgData name="Ronny Georgi" userId="516b13485727eb9a" providerId="LiveId" clId="{FFDE2696-FD0A-4B4E-8F67-360AF9485457}" dt="2022-02-24T15:57:42.591" v="899" actId="47"/>
        <pc:sldMkLst>
          <pc:docMk/>
          <pc:sldMk cId="3879046157" sldId="351"/>
        </pc:sldMkLst>
        <pc:picChg chg="add del mod">
          <ac:chgData name="Ronny Georgi" userId="516b13485727eb9a" providerId="LiveId" clId="{FFDE2696-FD0A-4B4E-8F67-360AF9485457}" dt="2022-02-24T15:56:27.413" v="887" actId="21"/>
          <ac:picMkLst>
            <pc:docMk/>
            <pc:sldMk cId="3879046157" sldId="351"/>
            <ac:picMk id="3" creationId="{644DAC9F-D821-4AD5-885D-2950CF854FDD}"/>
          </ac:picMkLst>
        </pc:picChg>
      </pc:sldChg>
      <pc:sldChg chg="delSp modSp del mod">
        <pc:chgData name="Ronny Georgi" userId="516b13485727eb9a" providerId="LiveId" clId="{FFDE2696-FD0A-4B4E-8F67-360AF9485457}" dt="2022-02-23T18:37:45.609" v="248" actId="2696"/>
        <pc:sldMkLst>
          <pc:docMk/>
          <pc:sldMk cId="3095761572" sldId="352"/>
        </pc:sldMkLst>
        <pc:spChg chg="del">
          <ac:chgData name="Ronny Georgi" userId="516b13485727eb9a" providerId="LiveId" clId="{FFDE2696-FD0A-4B4E-8F67-360AF9485457}" dt="2022-02-23T18:37:45.602" v="246" actId="478"/>
          <ac:spMkLst>
            <pc:docMk/>
            <pc:sldMk cId="3095761572" sldId="352"/>
            <ac:spMk id="5" creationId="{47FC0362-D2A8-4749-AC1F-5ECC95D96822}"/>
          </ac:spMkLst>
        </pc:spChg>
        <pc:spChg chg="mod">
          <ac:chgData name="Ronny Georgi" userId="516b13485727eb9a" providerId="LiveId" clId="{FFDE2696-FD0A-4B4E-8F67-360AF9485457}" dt="2022-02-23T18:37:43.469" v="1" actId="207"/>
          <ac:spMkLst>
            <pc:docMk/>
            <pc:sldMk cId="3095761572" sldId="352"/>
            <ac:spMk id="7" creationId="{55C6A179-0E61-4B56-8B6C-692EEC165E74}"/>
          </ac:spMkLst>
        </pc:spChg>
        <pc:spChg chg="mod modVis">
          <ac:chgData name="Ronny Georgi" userId="516b13485727eb9a" providerId="LiveId" clId="{FFDE2696-FD0A-4B4E-8F67-360AF9485457}" dt="2022-02-23T18:37:43.609" v="2" actId="962"/>
          <ac:spMkLst>
            <pc:docMk/>
            <pc:sldMk cId="3095761572" sldId="352"/>
            <ac:spMk id="9" creationId="{116F6C46-2C66-4065-9CF5-D92C2D7B3C1C}"/>
          </ac:spMkLst>
        </pc:spChg>
        <pc:spChg chg="mod modVis">
          <ac:chgData name="Ronny Georgi" userId="516b13485727eb9a" providerId="LiveId" clId="{FFDE2696-FD0A-4B4E-8F67-360AF9485457}" dt="2022-02-23T18:37:43.626" v="3" actId="962"/>
          <ac:spMkLst>
            <pc:docMk/>
            <pc:sldMk cId="3095761572" sldId="352"/>
            <ac:spMk id="10" creationId="{95508A54-EEE6-44B7-8675-74661B5C3A70}"/>
          </ac:spMkLst>
        </pc:spChg>
        <pc:spChg chg="mod modVis">
          <ac:chgData name="Ronny Georgi" userId="516b13485727eb9a" providerId="LiveId" clId="{FFDE2696-FD0A-4B4E-8F67-360AF9485457}" dt="2022-02-23T18:37:43.646" v="4" actId="962"/>
          <ac:spMkLst>
            <pc:docMk/>
            <pc:sldMk cId="3095761572" sldId="352"/>
            <ac:spMk id="11" creationId="{33B6C1A2-F61B-4B96-A998-B887B4637189}"/>
          </ac:spMkLst>
        </pc:spChg>
        <pc:spChg chg="mod modVis">
          <ac:chgData name="Ronny Georgi" userId="516b13485727eb9a" providerId="LiveId" clId="{FFDE2696-FD0A-4B4E-8F67-360AF9485457}" dt="2022-02-23T18:37:43.675" v="5" actId="962"/>
          <ac:spMkLst>
            <pc:docMk/>
            <pc:sldMk cId="3095761572" sldId="352"/>
            <ac:spMk id="12" creationId="{A9DB85A9-8C7E-405B-B98F-48EBC267DCB7}"/>
          </ac:spMkLst>
        </pc:spChg>
        <pc:spChg chg="mod modVis">
          <ac:chgData name="Ronny Georgi" userId="516b13485727eb9a" providerId="LiveId" clId="{FFDE2696-FD0A-4B4E-8F67-360AF9485457}" dt="2022-02-23T18:37:43.693" v="6" actId="962"/>
          <ac:spMkLst>
            <pc:docMk/>
            <pc:sldMk cId="3095761572" sldId="352"/>
            <ac:spMk id="13" creationId="{9AAD2C54-4E80-46E3-99F6-93D8C78D9E46}"/>
          </ac:spMkLst>
        </pc:spChg>
        <pc:spChg chg="mod modVis">
          <ac:chgData name="Ronny Georgi" userId="516b13485727eb9a" providerId="LiveId" clId="{FFDE2696-FD0A-4B4E-8F67-360AF9485457}" dt="2022-02-23T18:37:43.706" v="7" actId="962"/>
          <ac:spMkLst>
            <pc:docMk/>
            <pc:sldMk cId="3095761572" sldId="352"/>
            <ac:spMk id="14" creationId="{0D164AAF-F0F4-4347-83AC-FC9C57AB3211}"/>
          </ac:spMkLst>
        </pc:spChg>
        <pc:spChg chg="mod modVis">
          <ac:chgData name="Ronny Georgi" userId="516b13485727eb9a" providerId="LiveId" clId="{FFDE2696-FD0A-4B4E-8F67-360AF9485457}" dt="2022-02-23T18:37:43.729" v="8" actId="962"/>
          <ac:spMkLst>
            <pc:docMk/>
            <pc:sldMk cId="3095761572" sldId="352"/>
            <ac:spMk id="15" creationId="{ECBE47AD-5849-47A8-B3D9-E0BD015509B0}"/>
          </ac:spMkLst>
        </pc:spChg>
        <pc:spChg chg="mod modVis">
          <ac:chgData name="Ronny Georgi" userId="516b13485727eb9a" providerId="LiveId" clId="{FFDE2696-FD0A-4B4E-8F67-360AF9485457}" dt="2022-02-23T18:37:43.755" v="9" actId="962"/>
          <ac:spMkLst>
            <pc:docMk/>
            <pc:sldMk cId="3095761572" sldId="352"/>
            <ac:spMk id="16" creationId="{B0FDBE48-88E7-4A36-9B48-953D44E61D1C}"/>
          </ac:spMkLst>
        </pc:spChg>
        <pc:spChg chg="mod modVis">
          <ac:chgData name="Ronny Georgi" userId="516b13485727eb9a" providerId="LiveId" clId="{FFDE2696-FD0A-4B4E-8F67-360AF9485457}" dt="2022-02-23T18:37:43.768" v="10" actId="962"/>
          <ac:spMkLst>
            <pc:docMk/>
            <pc:sldMk cId="3095761572" sldId="352"/>
            <ac:spMk id="17" creationId="{80C39E12-C273-48B2-837F-72D661248139}"/>
          </ac:spMkLst>
        </pc:spChg>
        <pc:spChg chg="mod modVis">
          <ac:chgData name="Ronny Georgi" userId="516b13485727eb9a" providerId="LiveId" clId="{FFDE2696-FD0A-4B4E-8F67-360AF9485457}" dt="2022-02-23T18:37:43.778" v="11" actId="962"/>
          <ac:spMkLst>
            <pc:docMk/>
            <pc:sldMk cId="3095761572" sldId="352"/>
            <ac:spMk id="18" creationId="{3D52514B-6ABE-49F4-B175-D7990CA75A77}"/>
          </ac:spMkLst>
        </pc:spChg>
        <pc:spChg chg="mod modVis">
          <ac:chgData name="Ronny Georgi" userId="516b13485727eb9a" providerId="LiveId" clId="{FFDE2696-FD0A-4B4E-8F67-360AF9485457}" dt="2022-02-23T18:37:43.796" v="12" actId="962"/>
          <ac:spMkLst>
            <pc:docMk/>
            <pc:sldMk cId="3095761572" sldId="352"/>
            <ac:spMk id="19" creationId="{7A300C32-C24E-4B5B-A070-438F5AB68CB8}"/>
          </ac:spMkLst>
        </pc:spChg>
        <pc:spChg chg="mod modVis">
          <ac:chgData name="Ronny Georgi" userId="516b13485727eb9a" providerId="LiveId" clId="{FFDE2696-FD0A-4B4E-8F67-360AF9485457}" dt="2022-02-23T18:37:43.801" v="13" actId="962"/>
          <ac:spMkLst>
            <pc:docMk/>
            <pc:sldMk cId="3095761572" sldId="352"/>
            <ac:spMk id="20" creationId="{F7BFD87C-973D-4C9F-A758-8C58FD2E98A8}"/>
          </ac:spMkLst>
        </pc:spChg>
        <pc:spChg chg="mod modVis">
          <ac:chgData name="Ronny Georgi" userId="516b13485727eb9a" providerId="LiveId" clId="{FFDE2696-FD0A-4B4E-8F67-360AF9485457}" dt="2022-02-23T18:37:43.813" v="14" actId="962"/>
          <ac:spMkLst>
            <pc:docMk/>
            <pc:sldMk cId="3095761572" sldId="352"/>
            <ac:spMk id="21" creationId="{ED18F36E-BD67-4555-9D3E-F7F5620CE704}"/>
          </ac:spMkLst>
        </pc:spChg>
        <pc:spChg chg="mod modVis">
          <ac:chgData name="Ronny Georgi" userId="516b13485727eb9a" providerId="LiveId" clId="{FFDE2696-FD0A-4B4E-8F67-360AF9485457}" dt="2022-02-23T18:37:43.838" v="15" actId="962"/>
          <ac:spMkLst>
            <pc:docMk/>
            <pc:sldMk cId="3095761572" sldId="352"/>
            <ac:spMk id="22" creationId="{2F355349-DD52-4ADF-9599-7CD702490C21}"/>
          </ac:spMkLst>
        </pc:spChg>
        <pc:spChg chg="mod modVis">
          <ac:chgData name="Ronny Georgi" userId="516b13485727eb9a" providerId="LiveId" clId="{FFDE2696-FD0A-4B4E-8F67-360AF9485457}" dt="2022-02-23T18:37:43.857" v="16" actId="962"/>
          <ac:spMkLst>
            <pc:docMk/>
            <pc:sldMk cId="3095761572" sldId="352"/>
            <ac:spMk id="23" creationId="{2961F984-202A-432C-96ED-90A51BF796FD}"/>
          </ac:spMkLst>
        </pc:spChg>
        <pc:spChg chg="mod modVis">
          <ac:chgData name="Ronny Georgi" userId="516b13485727eb9a" providerId="LiveId" clId="{FFDE2696-FD0A-4B4E-8F67-360AF9485457}" dt="2022-02-23T18:37:43.876" v="17" actId="962"/>
          <ac:spMkLst>
            <pc:docMk/>
            <pc:sldMk cId="3095761572" sldId="352"/>
            <ac:spMk id="24" creationId="{23F851CB-0B5B-4EF7-AC35-3214F75F666C}"/>
          </ac:spMkLst>
        </pc:spChg>
        <pc:spChg chg="mod modVis">
          <ac:chgData name="Ronny Georgi" userId="516b13485727eb9a" providerId="LiveId" clId="{FFDE2696-FD0A-4B4E-8F67-360AF9485457}" dt="2022-02-23T18:37:43.903" v="18" actId="962"/>
          <ac:spMkLst>
            <pc:docMk/>
            <pc:sldMk cId="3095761572" sldId="352"/>
            <ac:spMk id="25" creationId="{A68E3E26-07A2-4A2F-B90F-3102EF97DB73}"/>
          </ac:spMkLst>
        </pc:spChg>
        <pc:spChg chg="mod modVis">
          <ac:chgData name="Ronny Georgi" userId="516b13485727eb9a" providerId="LiveId" clId="{FFDE2696-FD0A-4B4E-8F67-360AF9485457}" dt="2022-02-23T18:37:43.918" v="19" actId="962"/>
          <ac:spMkLst>
            <pc:docMk/>
            <pc:sldMk cId="3095761572" sldId="352"/>
            <ac:spMk id="26" creationId="{858486B0-20AF-4CBB-8F2A-8B35FCD8CF10}"/>
          </ac:spMkLst>
        </pc:spChg>
        <pc:spChg chg="mod modVis">
          <ac:chgData name="Ronny Georgi" userId="516b13485727eb9a" providerId="LiveId" clId="{FFDE2696-FD0A-4B4E-8F67-360AF9485457}" dt="2022-02-23T18:37:43.932" v="20" actId="962"/>
          <ac:spMkLst>
            <pc:docMk/>
            <pc:sldMk cId="3095761572" sldId="352"/>
            <ac:spMk id="27" creationId="{C423F412-E9C4-493E-AB8D-8724800AB0BA}"/>
          </ac:spMkLst>
        </pc:spChg>
        <pc:spChg chg="mod modVis">
          <ac:chgData name="Ronny Georgi" userId="516b13485727eb9a" providerId="LiveId" clId="{FFDE2696-FD0A-4B4E-8F67-360AF9485457}" dt="2022-02-23T18:37:43.942" v="21" actId="962"/>
          <ac:spMkLst>
            <pc:docMk/>
            <pc:sldMk cId="3095761572" sldId="352"/>
            <ac:spMk id="28" creationId="{49ECD627-5981-4796-A415-E693F84E8131}"/>
          </ac:spMkLst>
        </pc:spChg>
        <pc:spChg chg="mod modVis">
          <ac:chgData name="Ronny Georgi" userId="516b13485727eb9a" providerId="LiveId" clId="{FFDE2696-FD0A-4B4E-8F67-360AF9485457}" dt="2022-02-23T18:37:43.959" v="22" actId="962"/>
          <ac:spMkLst>
            <pc:docMk/>
            <pc:sldMk cId="3095761572" sldId="352"/>
            <ac:spMk id="29" creationId="{79302326-5D67-4297-9EB4-0F536D03A620}"/>
          </ac:spMkLst>
        </pc:spChg>
        <pc:spChg chg="mod modVis">
          <ac:chgData name="Ronny Georgi" userId="516b13485727eb9a" providerId="LiveId" clId="{FFDE2696-FD0A-4B4E-8F67-360AF9485457}" dt="2022-02-23T18:37:43.965" v="23" actId="962"/>
          <ac:spMkLst>
            <pc:docMk/>
            <pc:sldMk cId="3095761572" sldId="352"/>
            <ac:spMk id="30" creationId="{2D7E8B66-1B98-413B-B149-F53CE58DD141}"/>
          </ac:spMkLst>
        </pc:spChg>
        <pc:spChg chg="mod modVis">
          <ac:chgData name="Ronny Georgi" userId="516b13485727eb9a" providerId="LiveId" clId="{FFDE2696-FD0A-4B4E-8F67-360AF9485457}" dt="2022-02-23T18:37:43.974" v="24" actId="962"/>
          <ac:spMkLst>
            <pc:docMk/>
            <pc:sldMk cId="3095761572" sldId="352"/>
            <ac:spMk id="31" creationId="{D9795D54-4808-4B80-A136-A2E563DF1E41}"/>
          </ac:spMkLst>
        </pc:spChg>
        <pc:spChg chg="mod modVis">
          <ac:chgData name="Ronny Georgi" userId="516b13485727eb9a" providerId="LiveId" clId="{FFDE2696-FD0A-4B4E-8F67-360AF9485457}" dt="2022-02-23T18:37:43.977" v="25" actId="962"/>
          <ac:spMkLst>
            <pc:docMk/>
            <pc:sldMk cId="3095761572" sldId="352"/>
            <ac:spMk id="32" creationId="{037547F5-C0D8-49A1-9847-1F987B894621}"/>
          </ac:spMkLst>
        </pc:spChg>
        <pc:spChg chg="mod modVis">
          <ac:chgData name="Ronny Georgi" userId="516b13485727eb9a" providerId="LiveId" clId="{FFDE2696-FD0A-4B4E-8F67-360AF9485457}" dt="2022-02-23T18:37:43.989" v="26" actId="962"/>
          <ac:spMkLst>
            <pc:docMk/>
            <pc:sldMk cId="3095761572" sldId="352"/>
            <ac:spMk id="33" creationId="{7C2D3F7D-0FD9-4F62-B731-BDC628F84AE3}"/>
          </ac:spMkLst>
        </pc:spChg>
        <pc:spChg chg="mod modVis">
          <ac:chgData name="Ronny Georgi" userId="516b13485727eb9a" providerId="LiveId" clId="{FFDE2696-FD0A-4B4E-8F67-360AF9485457}" dt="2022-02-23T18:37:44.013" v="27" actId="962"/>
          <ac:spMkLst>
            <pc:docMk/>
            <pc:sldMk cId="3095761572" sldId="352"/>
            <ac:spMk id="34" creationId="{6943C19B-583B-4B58-99AC-B0599F737C08}"/>
          </ac:spMkLst>
        </pc:spChg>
        <pc:spChg chg="mod modVis">
          <ac:chgData name="Ronny Georgi" userId="516b13485727eb9a" providerId="LiveId" clId="{FFDE2696-FD0A-4B4E-8F67-360AF9485457}" dt="2022-02-23T18:37:44.037" v="28" actId="962"/>
          <ac:spMkLst>
            <pc:docMk/>
            <pc:sldMk cId="3095761572" sldId="352"/>
            <ac:spMk id="35" creationId="{7412B1BD-7D3B-46FE-841B-578622E6D882}"/>
          </ac:spMkLst>
        </pc:spChg>
        <pc:spChg chg="mod modVis">
          <ac:chgData name="Ronny Georgi" userId="516b13485727eb9a" providerId="LiveId" clId="{FFDE2696-FD0A-4B4E-8F67-360AF9485457}" dt="2022-02-23T18:37:44.057" v="29" actId="962"/>
          <ac:spMkLst>
            <pc:docMk/>
            <pc:sldMk cId="3095761572" sldId="352"/>
            <ac:spMk id="36" creationId="{CE0AC150-A333-46CE-A652-8E6A1FFC5C7F}"/>
          </ac:spMkLst>
        </pc:spChg>
        <pc:spChg chg="mod modVis">
          <ac:chgData name="Ronny Georgi" userId="516b13485727eb9a" providerId="LiveId" clId="{FFDE2696-FD0A-4B4E-8F67-360AF9485457}" dt="2022-02-23T18:37:44.083" v="30" actId="962"/>
          <ac:spMkLst>
            <pc:docMk/>
            <pc:sldMk cId="3095761572" sldId="352"/>
            <ac:spMk id="37" creationId="{5E3E8AFA-372C-4FE5-8A02-0A7349E355AA}"/>
          </ac:spMkLst>
        </pc:spChg>
        <pc:spChg chg="mod modVis">
          <ac:chgData name="Ronny Georgi" userId="516b13485727eb9a" providerId="LiveId" clId="{FFDE2696-FD0A-4B4E-8F67-360AF9485457}" dt="2022-02-23T18:37:44.095" v="31" actId="962"/>
          <ac:spMkLst>
            <pc:docMk/>
            <pc:sldMk cId="3095761572" sldId="352"/>
            <ac:spMk id="38" creationId="{01860806-5FBC-4588-B0E7-16B87FDF56A5}"/>
          </ac:spMkLst>
        </pc:spChg>
        <pc:spChg chg="mod modVis">
          <ac:chgData name="Ronny Georgi" userId="516b13485727eb9a" providerId="LiveId" clId="{FFDE2696-FD0A-4B4E-8F67-360AF9485457}" dt="2022-02-23T18:37:44.105" v="32" actId="962"/>
          <ac:spMkLst>
            <pc:docMk/>
            <pc:sldMk cId="3095761572" sldId="352"/>
            <ac:spMk id="39" creationId="{EF2A57A1-A1DD-4E2E-93CD-5FB7610715DE}"/>
          </ac:spMkLst>
        </pc:spChg>
        <pc:spChg chg="mod modVis">
          <ac:chgData name="Ronny Georgi" userId="516b13485727eb9a" providerId="LiveId" clId="{FFDE2696-FD0A-4B4E-8F67-360AF9485457}" dt="2022-02-23T18:37:44.114" v="33" actId="962"/>
          <ac:spMkLst>
            <pc:docMk/>
            <pc:sldMk cId="3095761572" sldId="352"/>
            <ac:spMk id="40" creationId="{F3A168A4-2A92-4F1C-8E9C-9012DD4DCABB}"/>
          </ac:spMkLst>
        </pc:spChg>
        <pc:spChg chg="mod modVis">
          <ac:chgData name="Ronny Georgi" userId="516b13485727eb9a" providerId="LiveId" clId="{FFDE2696-FD0A-4B4E-8F67-360AF9485457}" dt="2022-02-23T18:37:44.144" v="34" actId="962"/>
          <ac:spMkLst>
            <pc:docMk/>
            <pc:sldMk cId="3095761572" sldId="352"/>
            <ac:spMk id="41" creationId="{EF8E222B-EBA2-4252-83B1-177335661D7F}"/>
          </ac:spMkLst>
        </pc:spChg>
        <pc:spChg chg="mod modVis">
          <ac:chgData name="Ronny Georgi" userId="516b13485727eb9a" providerId="LiveId" clId="{FFDE2696-FD0A-4B4E-8F67-360AF9485457}" dt="2022-02-23T18:37:44.148" v="35" actId="962"/>
          <ac:spMkLst>
            <pc:docMk/>
            <pc:sldMk cId="3095761572" sldId="352"/>
            <ac:spMk id="42" creationId="{E5BB7EA0-2F79-4DF0-A50D-2004F3530A90}"/>
          </ac:spMkLst>
        </pc:spChg>
        <pc:spChg chg="mod modVis">
          <ac:chgData name="Ronny Georgi" userId="516b13485727eb9a" providerId="LiveId" clId="{FFDE2696-FD0A-4B4E-8F67-360AF9485457}" dt="2022-02-23T18:37:44.158" v="36" actId="962"/>
          <ac:spMkLst>
            <pc:docMk/>
            <pc:sldMk cId="3095761572" sldId="352"/>
            <ac:spMk id="43" creationId="{01142582-9365-4C35-BC91-EE55AC408D1F}"/>
          </ac:spMkLst>
        </pc:spChg>
        <pc:spChg chg="mod modVis">
          <ac:chgData name="Ronny Georgi" userId="516b13485727eb9a" providerId="LiveId" clId="{FFDE2696-FD0A-4B4E-8F67-360AF9485457}" dt="2022-02-23T18:37:44.164" v="37" actId="962"/>
          <ac:spMkLst>
            <pc:docMk/>
            <pc:sldMk cId="3095761572" sldId="352"/>
            <ac:spMk id="44" creationId="{5E292036-7CCB-40EE-82B1-309E6544829E}"/>
          </ac:spMkLst>
        </pc:spChg>
        <pc:spChg chg="mod modVis">
          <ac:chgData name="Ronny Georgi" userId="516b13485727eb9a" providerId="LiveId" clId="{FFDE2696-FD0A-4B4E-8F67-360AF9485457}" dt="2022-02-23T18:37:44.174" v="38" actId="962"/>
          <ac:spMkLst>
            <pc:docMk/>
            <pc:sldMk cId="3095761572" sldId="352"/>
            <ac:spMk id="45" creationId="{3C885078-C741-403D-8A7E-A100053FB837}"/>
          </ac:spMkLst>
        </pc:spChg>
        <pc:spChg chg="mod modVis">
          <ac:chgData name="Ronny Georgi" userId="516b13485727eb9a" providerId="LiveId" clId="{FFDE2696-FD0A-4B4E-8F67-360AF9485457}" dt="2022-02-23T18:37:44.199" v="39" actId="962"/>
          <ac:spMkLst>
            <pc:docMk/>
            <pc:sldMk cId="3095761572" sldId="352"/>
            <ac:spMk id="46" creationId="{B5EE7C37-B6BE-4FA5-992B-99A1C08EADF2}"/>
          </ac:spMkLst>
        </pc:spChg>
        <pc:spChg chg="mod modVis">
          <ac:chgData name="Ronny Georgi" userId="516b13485727eb9a" providerId="LiveId" clId="{FFDE2696-FD0A-4B4E-8F67-360AF9485457}" dt="2022-02-23T18:37:44.217" v="40" actId="962"/>
          <ac:spMkLst>
            <pc:docMk/>
            <pc:sldMk cId="3095761572" sldId="352"/>
            <ac:spMk id="47" creationId="{D823080C-F24B-42A4-A99C-DDF147192185}"/>
          </ac:spMkLst>
        </pc:spChg>
        <pc:spChg chg="mod modVis">
          <ac:chgData name="Ronny Georgi" userId="516b13485727eb9a" providerId="LiveId" clId="{FFDE2696-FD0A-4B4E-8F67-360AF9485457}" dt="2022-02-23T18:37:44.232" v="41" actId="962"/>
          <ac:spMkLst>
            <pc:docMk/>
            <pc:sldMk cId="3095761572" sldId="352"/>
            <ac:spMk id="48" creationId="{5A80E4A1-EC02-4A46-95B3-F148D1517237}"/>
          </ac:spMkLst>
        </pc:spChg>
        <pc:spChg chg="mod modVis">
          <ac:chgData name="Ronny Georgi" userId="516b13485727eb9a" providerId="LiveId" clId="{FFDE2696-FD0A-4B4E-8F67-360AF9485457}" dt="2022-02-23T18:37:44.246" v="42" actId="962"/>
          <ac:spMkLst>
            <pc:docMk/>
            <pc:sldMk cId="3095761572" sldId="352"/>
            <ac:spMk id="49" creationId="{0DC680C9-9404-4BFF-8813-A5C65EFF38B1}"/>
          </ac:spMkLst>
        </pc:spChg>
        <pc:spChg chg="mod modVis">
          <ac:chgData name="Ronny Georgi" userId="516b13485727eb9a" providerId="LiveId" clId="{FFDE2696-FD0A-4B4E-8F67-360AF9485457}" dt="2022-02-23T18:37:44.272" v="43" actId="962"/>
          <ac:spMkLst>
            <pc:docMk/>
            <pc:sldMk cId="3095761572" sldId="352"/>
            <ac:spMk id="50" creationId="{D1A3CFFB-C273-4F58-B202-11A27B4EBD2F}"/>
          </ac:spMkLst>
        </pc:spChg>
        <pc:spChg chg="mod modVis">
          <ac:chgData name="Ronny Georgi" userId="516b13485727eb9a" providerId="LiveId" clId="{FFDE2696-FD0A-4B4E-8F67-360AF9485457}" dt="2022-02-23T18:37:44.290" v="44" actId="962"/>
          <ac:spMkLst>
            <pc:docMk/>
            <pc:sldMk cId="3095761572" sldId="352"/>
            <ac:spMk id="51" creationId="{EEF62D2F-5F05-4048-B77A-F1F60083BB2F}"/>
          </ac:spMkLst>
        </pc:spChg>
        <pc:spChg chg="mod modVis">
          <ac:chgData name="Ronny Georgi" userId="516b13485727eb9a" providerId="LiveId" clId="{FFDE2696-FD0A-4B4E-8F67-360AF9485457}" dt="2022-02-23T18:37:44.306" v="45" actId="962"/>
          <ac:spMkLst>
            <pc:docMk/>
            <pc:sldMk cId="3095761572" sldId="352"/>
            <ac:spMk id="52" creationId="{55F58A2C-2FE3-4985-BF69-084D9F0FC72F}"/>
          </ac:spMkLst>
        </pc:spChg>
        <pc:spChg chg="mod modVis">
          <ac:chgData name="Ronny Georgi" userId="516b13485727eb9a" providerId="LiveId" clId="{FFDE2696-FD0A-4B4E-8F67-360AF9485457}" dt="2022-02-23T18:37:44.329" v="46" actId="962"/>
          <ac:spMkLst>
            <pc:docMk/>
            <pc:sldMk cId="3095761572" sldId="352"/>
            <ac:spMk id="53" creationId="{BE3757ED-5FE5-4486-9513-81EC5E2955A7}"/>
          </ac:spMkLst>
        </pc:spChg>
        <pc:spChg chg="mod modVis">
          <ac:chgData name="Ronny Georgi" userId="516b13485727eb9a" providerId="LiveId" clId="{FFDE2696-FD0A-4B4E-8F67-360AF9485457}" dt="2022-02-23T18:37:44.332" v="47" actId="962"/>
          <ac:spMkLst>
            <pc:docMk/>
            <pc:sldMk cId="3095761572" sldId="352"/>
            <ac:spMk id="54" creationId="{344ABB89-C892-4D75-859A-D24B2C5365C6}"/>
          </ac:spMkLst>
        </pc:spChg>
        <pc:spChg chg="mod modVis">
          <ac:chgData name="Ronny Georgi" userId="516b13485727eb9a" providerId="LiveId" clId="{FFDE2696-FD0A-4B4E-8F67-360AF9485457}" dt="2022-02-23T18:37:44.341" v="48" actId="962"/>
          <ac:spMkLst>
            <pc:docMk/>
            <pc:sldMk cId="3095761572" sldId="352"/>
            <ac:spMk id="55" creationId="{19A7A97E-8677-4964-8202-CBADEE7E96BE}"/>
          </ac:spMkLst>
        </pc:spChg>
        <pc:spChg chg="mod modVis">
          <ac:chgData name="Ronny Georgi" userId="516b13485727eb9a" providerId="LiveId" clId="{FFDE2696-FD0A-4B4E-8F67-360AF9485457}" dt="2022-02-23T18:37:44.344" v="49" actId="962"/>
          <ac:spMkLst>
            <pc:docMk/>
            <pc:sldMk cId="3095761572" sldId="352"/>
            <ac:spMk id="56" creationId="{2EDD11C4-9563-4B3E-9577-BE8427654407}"/>
          </ac:spMkLst>
        </pc:spChg>
        <pc:cxnChg chg="del">
          <ac:chgData name="Ronny Georgi" userId="516b13485727eb9a" providerId="LiveId" clId="{FFDE2696-FD0A-4B4E-8F67-360AF9485457}" dt="2022-02-23T18:37:45.605" v="247" actId="478"/>
          <ac:cxnSpMkLst>
            <pc:docMk/>
            <pc:sldMk cId="3095761572" sldId="352"/>
            <ac:cxnSpMk id="6" creationId="{C2B97E55-4148-4288-B0EA-99CBF0D20169}"/>
          </ac:cxnSpMkLst>
        </pc:cxnChg>
      </pc:sldChg>
      <pc:sldChg chg="del">
        <pc:chgData name="Ronny Georgi" userId="516b13485727eb9a" providerId="LiveId" clId="{FFDE2696-FD0A-4B4E-8F67-360AF9485457}" dt="2022-02-23T18:37:45.597" v="245" actId="2696"/>
        <pc:sldMkLst>
          <pc:docMk/>
          <pc:sldMk cId="3744797168" sldId="353"/>
        </pc:sldMkLst>
      </pc:sldChg>
      <pc:sldChg chg="del">
        <pc:chgData name="Ronny Georgi" userId="516b13485727eb9a" providerId="LiveId" clId="{FFDE2696-FD0A-4B4E-8F67-360AF9485457}" dt="2022-02-23T18:37:45.588" v="244" actId="2696"/>
        <pc:sldMkLst>
          <pc:docMk/>
          <pc:sldMk cId="2250349210" sldId="354"/>
        </pc:sldMkLst>
      </pc:sldChg>
      <pc:sldChg chg="modSp mod replTag">
        <pc:chgData name="Ronny Georgi" userId="516b13485727eb9a" providerId="LiveId" clId="{FFDE2696-FD0A-4B4E-8F67-360AF9485457}" dt="2022-02-23T18:37:45.533" v="240"/>
        <pc:sldMkLst>
          <pc:docMk/>
          <pc:sldMk cId="3697411857" sldId="355"/>
        </pc:sldMkLst>
        <pc:spChg chg="mod ord replST">
          <ac:chgData name="Ronny Georgi" userId="516b13485727eb9a" providerId="LiveId" clId="{FFDE2696-FD0A-4B4E-8F67-360AF9485457}" dt="2022-02-23T18:37:45.517" v="239"/>
          <ac:spMkLst>
            <pc:docMk/>
            <pc:sldMk cId="3697411857" sldId="355"/>
            <ac:spMk id="4" creationId="{A3ACF716-5D9F-4829-AF3B-D142D005F773}"/>
          </ac:spMkLst>
        </pc:spChg>
        <pc:spChg chg="replST">
          <ac:chgData name="Ronny Georgi" userId="516b13485727eb9a" providerId="LiveId" clId="{FFDE2696-FD0A-4B4E-8F67-360AF9485457}" dt="2022-02-23T18:37:45.352" v="208"/>
          <ac:spMkLst>
            <pc:docMk/>
            <pc:sldMk cId="3697411857" sldId="355"/>
            <ac:spMk id="5" creationId="{9B4CE042-6762-4C0E-B983-AB6B963885F3}"/>
          </ac:spMkLst>
        </pc:spChg>
        <pc:spChg chg="replST">
          <ac:chgData name="Ronny Georgi" userId="516b13485727eb9a" providerId="LiveId" clId="{FFDE2696-FD0A-4B4E-8F67-360AF9485457}" dt="2022-02-23T18:37:45.381" v="211"/>
          <ac:spMkLst>
            <pc:docMk/>
            <pc:sldMk cId="3697411857" sldId="355"/>
            <ac:spMk id="6" creationId="{3A470AB5-BC40-4667-965E-583B6A0FC972}"/>
          </ac:spMkLst>
        </pc:spChg>
        <pc:spChg chg="replST">
          <ac:chgData name="Ronny Georgi" userId="516b13485727eb9a" providerId="LiveId" clId="{FFDE2696-FD0A-4B4E-8F67-360AF9485457}" dt="2022-02-23T18:37:45.400" v="213"/>
          <ac:spMkLst>
            <pc:docMk/>
            <pc:sldMk cId="3697411857" sldId="355"/>
            <ac:spMk id="7" creationId="{F0165619-BA58-4D1B-A969-DDA34A29732C}"/>
          </ac:spMkLst>
        </pc:spChg>
        <pc:spChg chg="replST">
          <ac:chgData name="Ronny Georgi" userId="516b13485727eb9a" providerId="LiveId" clId="{FFDE2696-FD0A-4B4E-8F67-360AF9485457}" dt="2022-02-23T18:37:45.411" v="216"/>
          <ac:spMkLst>
            <pc:docMk/>
            <pc:sldMk cId="3697411857" sldId="355"/>
            <ac:spMk id="8" creationId="{58E816D0-023A-4B16-A2CF-5CF4655A6EA4}"/>
          </ac:spMkLst>
        </pc:spChg>
        <pc:spChg chg="replST">
          <ac:chgData name="Ronny Georgi" userId="516b13485727eb9a" providerId="LiveId" clId="{FFDE2696-FD0A-4B4E-8F67-360AF9485457}" dt="2022-02-23T18:37:45.430" v="219"/>
          <ac:spMkLst>
            <pc:docMk/>
            <pc:sldMk cId="3697411857" sldId="355"/>
            <ac:spMk id="9" creationId="{2AA1796C-22C0-48ED-AA28-38A7159A7CFC}"/>
          </ac:spMkLst>
        </pc:spChg>
        <pc:spChg chg="replST">
          <ac:chgData name="Ronny Georgi" userId="516b13485727eb9a" providerId="LiveId" clId="{FFDE2696-FD0A-4B4E-8F67-360AF9485457}" dt="2022-02-23T18:37:45.444" v="221"/>
          <ac:spMkLst>
            <pc:docMk/>
            <pc:sldMk cId="3697411857" sldId="355"/>
            <ac:spMk id="10" creationId="{722D2486-E817-43DE-A28C-1C9CD8B7C052}"/>
          </ac:spMkLst>
        </pc:spChg>
        <pc:spChg chg="replST">
          <ac:chgData name="Ronny Georgi" userId="516b13485727eb9a" providerId="LiveId" clId="{FFDE2696-FD0A-4B4E-8F67-360AF9485457}" dt="2022-02-23T18:37:45.451" v="224"/>
          <ac:spMkLst>
            <pc:docMk/>
            <pc:sldMk cId="3697411857" sldId="355"/>
            <ac:spMk id="11" creationId="{0CCDBD32-89AE-44D0-B148-05CBD0270B56}"/>
          </ac:spMkLst>
        </pc:spChg>
        <pc:spChg chg="replST">
          <ac:chgData name="Ronny Georgi" userId="516b13485727eb9a" providerId="LiveId" clId="{FFDE2696-FD0A-4B4E-8F67-360AF9485457}" dt="2022-02-23T18:37:45.468" v="227"/>
          <ac:spMkLst>
            <pc:docMk/>
            <pc:sldMk cId="3697411857" sldId="355"/>
            <ac:spMk id="12" creationId="{DF7C7603-3C56-4E1D-BF32-AC7AC1BA4A82}"/>
          </ac:spMkLst>
        </pc:spChg>
        <pc:spChg chg="replST">
          <ac:chgData name="Ronny Georgi" userId="516b13485727eb9a" providerId="LiveId" clId="{FFDE2696-FD0A-4B4E-8F67-360AF9485457}" dt="2022-02-23T18:37:45.477" v="229"/>
          <ac:spMkLst>
            <pc:docMk/>
            <pc:sldMk cId="3697411857" sldId="355"/>
            <ac:spMk id="13" creationId="{6C5D579B-D6C2-4489-8AB5-8137F8400F4E}"/>
          </ac:spMkLst>
        </pc:spChg>
        <pc:spChg chg="replST">
          <ac:chgData name="Ronny Georgi" userId="516b13485727eb9a" providerId="LiveId" clId="{FFDE2696-FD0A-4B4E-8F67-360AF9485457}" dt="2022-02-23T18:37:45.492" v="232"/>
          <ac:spMkLst>
            <pc:docMk/>
            <pc:sldMk cId="3697411857" sldId="355"/>
            <ac:spMk id="14" creationId="{998CC014-D712-4A63-87EC-41F65692892F}"/>
          </ac:spMkLst>
        </pc:spChg>
        <pc:spChg chg="replST">
          <ac:chgData name="Ronny Georgi" userId="516b13485727eb9a" providerId="LiveId" clId="{FFDE2696-FD0A-4B4E-8F67-360AF9485457}" dt="2022-02-23T18:37:45.506" v="235"/>
          <ac:spMkLst>
            <pc:docMk/>
            <pc:sldMk cId="3697411857" sldId="355"/>
            <ac:spMk id="15" creationId="{2ABC5FA4-F0EF-446E-BE29-C91A6E11494E}"/>
          </ac:spMkLst>
        </pc:spChg>
        <pc:spChg chg="replST">
          <ac:chgData name="Ronny Georgi" userId="516b13485727eb9a" providerId="LiveId" clId="{FFDE2696-FD0A-4B4E-8F67-360AF9485457}" dt="2022-02-23T18:37:45.513" v="237"/>
          <ac:spMkLst>
            <pc:docMk/>
            <pc:sldMk cId="3697411857" sldId="355"/>
            <ac:spMk id="16" creationId="{D4F42994-873E-42ED-B4A9-6C4B8370498E}"/>
          </ac:spMkLst>
        </pc:spChg>
        <pc:spChg chg="ord replST">
          <ac:chgData name="Ronny Georgi" userId="516b13485727eb9a" providerId="LiveId" clId="{FFDE2696-FD0A-4B4E-8F67-360AF9485457}" dt="2022-02-23T18:37:45.533" v="240"/>
          <ac:spMkLst>
            <pc:docMk/>
            <pc:sldMk cId="3697411857" sldId="355"/>
            <ac:spMk id="17" creationId="{5EB55309-0AD5-430A-9533-A0748E967C2A}"/>
          </ac:spMkLst>
        </pc:spChg>
      </pc:sldChg>
      <pc:sldChg chg="addSp modSp new mod">
        <pc:chgData name="Ronny Georgi" userId="516b13485727eb9a" providerId="LiveId" clId="{FFDE2696-FD0A-4B4E-8F67-360AF9485457}" dt="2022-02-23T18:52:13.455" v="415" actId="20577"/>
        <pc:sldMkLst>
          <pc:docMk/>
          <pc:sldMk cId="758189518" sldId="356"/>
        </pc:sldMkLst>
        <pc:spChg chg="mod">
          <ac:chgData name="Ronny Georgi" userId="516b13485727eb9a" providerId="LiveId" clId="{FFDE2696-FD0A-4B4E-8F67-360AF9485457}" dt="2022-02-23T18:37:58.665" v="272" actId="20577"/>
          <ac:spMkLst>
            <pc:docMk/>
            <pc:sldMk cId="758189518" sldId="356"/>
            <ac:spMk id="2" creationId="{EA173989-89D2-4DBF-A302-DC81E90FBA8A}"/>
          </ac:spMkLst>
        </pc:spChg>
        <pc:spChg chg="add mod">
          <ac:chgData name="Ronny Georgi" userId="516b13485727eb9a" providerId="LiveId" clId="{FFDE2696-FD0A-4B4E-8F67-360AF9485457}" dt="2022-02-23T18:51:58.814" v="395" actId="6549"/>
          <ac:spMkLst>
            <pc:docMk/>
            <pc:sldMk cId="758189518" sldId="356"/>
            <ac:spMk id="3" creationId="{20D7D35C-D2DF-4774-B751-DE60D3DF3D39}"/>
          </ac:spMkLst>
        </pc:spChg>
        <pc:spChg chg="add mod">
          <ac:chgData name="Ronny Georgi" userId="516b13485727eb9a" providerId="LiveId" clId="{FFDE2696-FD0A-4B4E-8F67-360AF9485457}" dt="2022-02-23T18:52:13.455" v="415" actId="20577"/>
          <ac:spMkLst>
            <pc:docMk/>
            <pc:sldMk cId="758189518" sldId="356"/>
            <ac:spMk id="4" creationId="{C872ECD5-FEC2-430C-9BB8-B48F2BF22503}"/>
          </ac:spMkLst>
        </pc:spChg>
      </pc:sldChg>
      <pc:sldChg chg="modSp mod">
        <pc:chgData name="Ronny Georgi" userId="516b13485727eb9a" providerId="LiveId" clId="{FFDE2696-FD0A-4B4E-8F67-360AF9485457}" dt="2022-02-27T12:35:35.601" v="1050" actId="20577"/>
        <pc:sldMkLst>
          <pc:docMk/>
          <pc:sldMk cId="3615747740" sldId="360"/>
        </pc:sldMkLst>
        <pc:spChg chg="mod">
          <ac:chgData name="Ronny Georgi" userId="516b13485727eb9a" providerId="LiveId" clId="{FFDE2696-FD0A-4B4E-8F67-360AF9485457}" dt="2022-02-27T12:35:35.601" v="1050" actId="20577"/>
          <ac:spMkLst>
            <pc:docMk/>
            <pc:sldMk cId="3615747740" sldId="360"/>
            <ac:spMk id="646" creationId="{00000000-0000-0000-0000-000000000000}"/>
          </ac:spMkLst>
        </pc:spChg>
      </pc:sldChg>
      <pc:sldChg chg="modSp add mod">
        <pc:chgData name="Ronny Georgi" userId="516b13485727eb9a" providerId="LiveId" clId="{FFDE2696-FD0A-4B4E-8F67-360AF9485457}" dt="2022-02-27T12:36:02.137" v="1079" actId="20577"/>
        <pc:sldMkLst>
          <pc:docMk/>
          <pc:sldMk cId="1679559450" sldId="363"/>
        </pc:sldMkLst>
        <pc:spChg chg="mod">
          <ac:chgData name="Ronny Georgi" userId="516b13485727eb9a" providerId="LiveId" clId="{FFDE2696-FD0A-4B4E-8F67-360AF9485457}" dt="2022-02-27T12:36:02.137" v="1079" actId="20577"/>
          <ac:spMkLst>
            <pc:docMk/>
            <pc:sldMk cId="1679559450" sldId="363"/>
            <ac:spMk id="646" creationId="{00000000-0000-0000-0000-000000000000}"/>
          </ac:spMkLst>
        </pc:spChg>
      </pc:sldChg>
    </pc:docChg>
  </pc:docChgLst>
  <pc:docChgLst>
    <pc:chgData name="Guest User" userId="417d537d297f691c" providerId="Windows Live" clId="Web-{88919985-FBE5-4709-9331-466F7897E196}"/>
    <pc:docChg chg="addSld modSld modSection">
      <pc:chgData name="Guest User" userId="417d537d297f691c" providerId="Windows Live" clId="Web-{88919985-FBE5-4709-9331-466F7897E196}" dt="2022-02-27T12:21:38.975" v="99" actId="20577"/>
      <pc:docMkLst>
        <pc:docMk/>
      </pc:docMkLst>
      <pc:sldChg chg="add">
        <pc:chgData name="Guest User" userId="417d537d297f691c" providerId="Windows Live" clId="Web-{88919985-FBE5-4709-9331-466F7897E196}" dt="2022-02-27T12:17:46.204" v="0"/>
        <pc:sldMkLst>
          <pc:docMk/>
          <pc:sldMk cId="320364122" sldId="357"/>
        </pc:sldMkLst>
      </pc:sldChg>
      <pc:sldChg chg="delSp modSp add replId">
        <pc:chgData name="Guest User" userId="417d537d297f691c" providerId="Windows Live" clId="Web-{88919985-FBE5-4709-9331-466F7897E196}" dt="2022-02-27T12:18:58.018" v="31" actId="20577"/>
        <pc:sldMkLst>
          <pc:docMk/>
          <pc:sldMk cId="1715949567" sldId="358"/>
        </pc:sldMkLst>
        <pc:spChg chg="del">
          <ac:chgData name="Guest User" userId="417d537d297f691c" providerId="Windows Live" clId="Web-{88919985-FBE5-4709-9331-466F7897E196}" dt="2022-02-27T12:18:03.048" v="2"/>
          <ac:spMkLst>
            <pc:docMk/>
            <pc:sldMk cId="1715949567" sldId="358"/>
            <ac:spMk id="4" creationId="{63C11F22-C0C4-410F-A942-EDDF890800D7}"/>
          </ac:spMkLst>
        </pc:spChg>
        <pc:spChg chg="mod">
          <ac:chgData name="Guest User" userId="417d537d297f691c" providerId="Windows Live" clId="Web-{88919985-FBE5-4709-9331-466F7897E196}" dt="2022-02-27T12:18:58.018" v="31" actId="20577"/>
          <ac:spMkLst>
            <pc:docMk/>
            <pc:sldMk cId="1715949567" sldId="358"/>
            <ac:spMk id="646" creationId="{00000000-0000-0000-0000-000000000000}"/>
          </ac:spMkLst>
        </pc:spChg>
      </pc:sldChg>
      <pc:sldChg chg="add">
        <pc:chgData name="Guest User" userId="417d537d297f691c" providerId="Windows Live" clId="Web-{88919985-FBE5-4709-9331-466F7897E196}" dt="2022-02-27T12:19:56.644" v="32"/>
        <pc:sldMkLst>
          <pc:docMk/>
          <pc:sldMk cId="4161848243" sldId="359"/>
        </pc:sldMkLst>
      </pc:sldChg>
      <pc:sldChg chg="modSp add replId">
        <pc:chgData name="Guest User" userId="417d537d297f691c" providerId="Windows Live" clId="Web-{88919985-FBE5-4709-9331-466F7897E196}" dt="2022-02-27T12:20:55.255" v="75" actId="14100"/>
        <pc:sldMkLst>
          <pc:docMk/>
          <pc:sldMk cId="3615747740" sldId="360"/>
        </pc:sldMkLst>
        <pc:spChg chg="mod">
          <ac:chgData name="Guest User" userId="417d537d297f691c" providerId="Windows Live" clId="Web-{88919985-FBE5-4709-9331-466F7897E196}" dt="2022-02-27T12:20:55.255" v="75" actId="14100"/>
          <ac:spMkLst>
            <pc:docMk/>
            <pc:sldMk cId="3615747740" sldId="360"/>
            <ac:spMk id="646" creationId="{00000000-0000-0000-0000-000000000000}"/>
          </ac:spMkLst>
        </pc:spChg>
      </pc:sldChg>
      <pc:sldChg chg="add">
        <pc:chgData name="Guest User" userId="417d537d297f691c" providerId="Windows Live" clId="Web-{88919985-FBE5-4709-9331-466F7897E196}" dt="2022-02-27T12:21:11.771" v="76"/>
        <pc:sldMkLst>
          <pc:docMk/>
          <pc:sldMk cId="686763892" sldId="361"/>
        </pc:sldMkLst>
      </pc:sldChg>
      <pc:sldChg chg="modSp add replId">
        <pc:chgData name="Guest User" userId="417d537d297f691c" providerId="Windows Live" clId="Web-{88919985-FBE5-4709-9331-466F7897E196}" dt="2022-02-27T12:21:38.975" v="99" actId="20577"/>
        <pc:sldMkLst>
          <pc:docMk/>
          <pc:sldMk cId="2048213465" sldId="362"/>
        </pc:sldMkLst>
        <pc:spChg chg="mod">
          <ac:chgData name="Guest User" userId="417d537d297f691c" providerId="Windows Live" clId="Web-{88919985-FBE5-4709-9331-466F7897E196}" dt="2022-02-27T12:21:38.975" v="99" actId="20577"/>
          <ac:spMkLst>
            <pc:docMk/>
            <pc:sldMk cId="2048213465" sldId="362"/>
            <ac:spMk id="646" creationId="{00000000-0000-0000-0000-000000000000}"/>
          </ac:spMkLst>
        </pc:spChg>
      </pc:sldChg>
    </pc:docChg>
  </pc:docChgLst>
  <pc:docChgLst>
    <pc:chgData name="Guest User" userId="417d537d297f691c" providerId="Windows Live" clId="Web-{BE7CA3F8-CA04-49C1-AAB5-EC8B90625D1D}"/>
    <pc:docChg chg="delSld modSld modSection">
      <pc:chgData name="Guest User" userId="417d537d297f691c" providerId="Windows Live" clId="Web-{BE7CA3F8-CA04-49C1-AAB5-EC8B90625D1D}" dt="2022-02-27T21:55:31.126" v="25" actId="20577"/>
      <pc:docMkLst>
        <pc:docMk/>
      </pc:docMkLst>
      <pc:sldChg chg="modSp">
        <pc:chgData name="Guest User" userId="417d537d297f691c" providerId="Windows Live" clId="Web-{BE7CA3F8-CA04-49C1-AAB5-EC8B90625D1D}" dt="2022-02-27T21:55:31.126" v="25" actId="20577"/>
        <pc:sldMkLst>
          <pc:docMk/>
          <pc:sldMk cId="3706112271" sldId="331"/>
        </pc:sldMkLst>
        <pc:spChg chg="mod">
          <ac:chgData name="Guest User" userId="417d537d297f691c" providerId="Windows Live" clId="Web-{BE7CA3F8-CA04-49C1-AAB5-EC8B90625D1D}" dt="2022-02-27T21:55:31.126" v="25" actId="20577"/>
          <ac:spMkLst>
            <pc:docMk/>
            <pc:sldMk cId="3706112271" sldId="331"/>
            <ac:spMk id="646" creationId="{00000000-0000-0000-0000-000000000000}"/>
          </ac:spMkLst>
        </pc:spChg>
      </pc:sldChg>
      <pc:sldChg chg="del">
        <pc:chgData name="Guest User" userId="417d537d297f691c" providerId="Windows Live" clId="Web-{BE7CA3F8-CA04-49C1-AAB5-EC8B90625D1D}" dt="2022-02-27T21:54:06.948" v="0"/>
        <pc:sldMkLst>
          <pc:docMk/>
          <pc:sldMk cId="3615747740" sldId="360"/>
        </pc:sldMkLst>
      </pc:sldChg>
      <pc:sldChg chg="modSp">
        <pc:chgData name="Guest User" userId="417d537d297f691c" providerId="Windows Live" clId="Web-{BE7CA3F8-CA04-49C1-AAB5-EC8B90625D1D}" dt="2022-02-27T21:54:33.575" v="13" actId="20577"/>
        <pc:sldMkLst>
          <pc:docMk/>
          <pc:sldMk cId="1679559450" sldId="363"/>
        </pc:sldMkLst>
        <pc:spChg chg="mod">
          <ac:chgData name="Guest User" userId="417d537d297f691c" providerId="Windows Live" clId="Web-{BE7CA3F8-CA04-49C1-AAB5-EC8B90625D1D}" dt="2022-02-27T21:54:33.575" v="13" actId="20577"/>
          <ac:spMkLst>
            <pc:docMk/>
            <pc:sldMk cId="1679559450" sldId="363"/>
            <ac:spMk id="646" creationId="{00000000-0000-0000-0000-000000000000}"/>
          </ac:spMkLst>
        </pc:spChg>
      </pc:sldChg>
    </pc:docChg>
  </pc:docChgLst>
  <pc:docChgLst>
    <pc:chgData name="Sadaf Yp" userId="c191f35bac568894" providerId="LiveId" clId="{2E3D243A-D65E-4D51-B5DA-BFE05DE3D5C0}"/>
    <pc:docChg chg="undo redo custSel modSld">
      <pc:chgData name="Sadaf Yp" userId="c191f35bac568894" providerId="LiveId" clId="{2E3D243A-D65E-4D51-B5DA-BFE05DE3D5C0}" dt="2022-02-27T21:21:40.726" v="239" actId="1035"/>
      <pc:docMkLst>
        <pc:docMk/>
      </pc:docMkLst>
      <pc:sldChg chg="addSp delSp modSp mod">
        <pc:chgData name="Sadaf Yp" userId="c191f35bac568894" providerId="LiveId" clId="{2E3D243A-D65E-4D51-B5DA-BFE05DE3D5C0}" dt="2022-02-25T13:11:21.935" v="14" actId="1076"/>
        <pc:sldMkLst>
          <pc:docMk/>
          <pc:sldMk cId="2206461608" sldId="349"/>
        </pc:sldMkLst>
        <pc:picChg chg="mod">
          <ac:chgData name="Sadaf Yp" userId="c191f35bac568894" providerId="LiveId" clId="{2E3D243A-D65E-4D51-B5DA-BFE05DE3D5C0}" dt="2022-02-25T13:10:20.763" v="4" actId="1076"/>
          <ac:picMkLst>
            <pc:docMk/>
            <pc:sldMk cId="2206461608" sldId="349"/>
            <ac:picMk id="15" creationId="{660FA9C7-D2D6-4483-B12B-868EF13BBF4B}"/>
          </ac:picMkLst>
        </pc:picChg>
        <pc:picChg chg="mod">
          <ac:chgData name="Sadaf Yp" userId="c191f35bac568894" providerId="LiveId" clId="{2E3D243A-D65E-4D51-B5DA-BFE05DE3D5C0}" dt="2022-02-25T13:10:21.572" v="5" actId="1037"/>
          <ac:picMkLst>
            <pc:docMk/>
            <pc:sldMk cId="2206461608" sldId="349"/>
            <ac:picMk id="20" creationId="{345B515B-8F56-4187-9D18-D9B8318D9B8E}"/>
          </ac:picMkLst>
        </pc:picChg>
        <pc:picChg chg="add del mod">
          <ac:chgData name="Sadaf Yp" userId="c191f35bac568894" providerId="LiveId" clId="{2E3D243A-D65E-4D51-B5DA-BFE05DE3D5C0}" dt="2022-02-25T13:11:16.132" v="12" actId="478"/>
          <ac:picMkLst>
            <pc:docMk/>
            <pc:sldMk cId="2206461608" sldId="349"/>
            <ac:picMk id="22" creationId="{4C54B703-D5A9-4627-BD4A-3BF2A60A4051}"/>
          </ac:picMkLst>
        </pc:picChg>
        <pc:picChg chg="add mod">
          <ac:chgData name="Sadaf Yp" userId="c191f35bac568894" providerId="LiveId" clId="{2E3D243A-D65E-4D51-B5DA-BFE05DE3D5C0}" dt="2022-02-25T13:10:34.117" v="9" actId="1076"/>
          <ac:picMkLst>
            <pc:docMk/>
            <pc:sldMk cId="2206461608" sldId="349"/>
            <ac:picMk id="29" creationId="{E7AA09FB-8B7B-43D3-8AED-94B9BF9F5E19}"/>
          </ac:picMkLst>
        </pc:picChg>
        <pc:picChg chg="add mod">
          <ac:chgData name="Sadaf Yp" userId="c191f35bac568894" providerId="LiveId" clId="{2E3D243A-D65E-4D51-B5DA-BFE05DE3D5C0}" dt="2022-02-25T13:10:40.675" v="11" actId="1076"/>
          <ac:picMkLst>
            <pc:docMk/>
            <pc:sldMk cId="2206461608" sldId="349"/>
            <ac:picMk id="30" creationId="{13DAF0AD-1786-4A0A-8A43-C357A10BAEEA}"/>
          </ac:picMkLst>
        </pc:picChg>
        <pc:picChg chg="add mod">
          <ac:chgData name="Sadaf Yp" userId="c191f35bac568894" providerId="LiveId" clId="{2E3D243A-D65E-4D51-B5DA-BFE05DE3D5C0}" dt="2022-02-25T13:11:21.935" v="14" actId="1076"/>
          <ac:picMkLst>
            <pc:docMk/>
            <pc:sldMk cId="2206461608" sldId="349"/>
            <ac:picMk id="31" creationId="{1A36952E-A909-4CB8-8596-492FAE7E8E2D}"/>
          </ac:picMkLst>
        </pc:picChg>
      </pc:sldChg>
      <pc:sldChg chg="modSp mod">
        <pc:chgData name="Sadaf Yp" userId="c191f35bac568894" providerId="LiveId" clId="{2E3D243A-D65E-4D51-B5DA-BFE05DE3D5C0}" dt="2022-02-27T17:18:41.280" v="15" actId="20577"/>
        <pc:sldMkLst>
          <pc:docMk/>
          <pc:sldMk cId="758189518" sldId="356"/>
        </pc:sldMkLst>
        <pc:spChg chg="mod">
          <ac:chgData name="Sadaf Yp" userId="c191f35bac568894" providerId="LiveId" clId="{2E3D243A-D65E-4D51-B5DA-BFE05DE3D5C0}" dt="2022-02-27T17:18:41.280" v="15" actId="20577"/>
          <ac:spMkLst>
            <pc:docMk/>
            <pc:sldMk cId="758189518" sldId="356"/>
            <ac:spMk id="14" creationId="{235D790C-2657-40FD-AC0C-DFC5049648F7}"/>
          </ac:spMkLst>
        </pc:spChg>
      </pc:sldChg>
      <pc:sldChg chg="addSp modSp mod modAnim">
        <pc:chgData name="Sadaf Yp" userId="c191f35bac568894" providerId="LiveId" clId="{2E3D243A-D65E-4D51-B5DA-BFE05DE3D5C0}" dt="2022-02-27T21:17:21.893" v="100" actId="1038"/>
        <pc:sldMkLst>
          <pc:docMk/>
          <pc:sldMk cId="1715949567" sldId="358"/>
        </pc:sldMkLst>
        <pc:picChg chg="add mod modCrop">
          <ac:chgData name="Sadaf Yp" userId="c191f35bac568894" providerId="LiveId" clId="{2E3D243A-D65E-4D51-B5DA-BFE05DE3D5C0}" dt="2022-02-27T21:17:21.893" v="100" actId="1038"/>
          <ac:picMkLst>
            <pc:docMk/>
            <pc:sldMk cId="1715949567" sldId="358"/>
            <ac:picMk id="2" creationId="{EA6920A3-4EB9-46A9-9498-482EC8587391}"/>
          </ac:picMkLst>
        </pc:picChg>
      </pc:sldChg>
      <pc:sldChg chg="addSp delSp modSp mod delAnim modAnim">
        <pc:chgData name="Sadaf Yp" userId="c191f35bac568894" providerId="LiveId" clId="{2E3D243A-D65E-4D51-B5DA-BFE05DE3D5C0}" dt="2022-02-27T21:18:58.560" v="103" actId="21"/>
        <pc:sldMkLst>
          <pc:docMk/>
          <pc:sldMk cId="3615747740" sldId="360"/>
        </pc:sldMkLst>
        <pc:picChg chg="add del mod">
          <ac:chgData name="Sadaf Yp" userId="c191f35bac568894" providerId="LiveId" clId="{2E3D243A-D65E-4D51-B5DA-BFE05DE3D5C0}" dt="2022-02-27T21:18:58.560" v="103" actId="21"/>
          <ac:picMkLst>
            <pc:docMk/>
            <pc:sldMk cId="3615747740" sldId="360"/>
            <ac:picMk id="2" creationId="{DBA4664A-6CA4-4ED6-A5C7-DD1257F4D661}"/>
          </ac:picMkLst>
        </pc:picChg>
      </pc:sldChg>
      <pc:sldChg chg="addSp modSp mod modAnim">
        <pc:chgData name="Sadaf Yp" userId="c191f35bac568894" providerId="LiveId" clId="{2E3D243A-D65E-4D51-B5DA-BFE05DE3D5C0}" dt="2022-02-27T21:20:49.164" v="208" actId="1038"/>
        <pc:sldMkLst>
          <pc:docMk/>
          <pc:sldMk cId="2048213465" sldId="362"/>
        </pc:sldMkLst>
        <pc:picChg chg="add mod">
          <ac:chgData name="Sadaf Yp" userId="c191f35bac568894" providerId="LiveId" clId="{2E3D243A-D65E-4D51-B5DA-BFE05DE3D5C0}" dt="2022-02-27T21:20:49.164" v="208" actId="1038"/>
          <ac:picMkLst>
            <pc:docMk/>
            <pc:sldMk cId="2048213465" sldId="362"/>
            <ac:picMk id="2" creationId="{DCD366E9-E47B-452F-95EC-BFDB26B3EBB1}"/>
          </ac:picMkLst>
        </pc:picChg>
      </pc:sldChg>
      <pc:sldChg chg="addSp modSp mod modAnim">
        <pc:chgData name="Sadaf Yp" userId="c191f35bac568894" providerId="LiveId" clId="{2E3D243A-D65E-4D51-B5DA-BFE05DE3D5C0}" dt="2022-02-27T21:21:40.726" v="239" actId="1035"/>
        <pc:sldMkLst>
          <pc:docMk/>
          <pc:sldMk cId="1679559450" sldId="363"/>
        </pc:sldMkLst>
        <pc:picChg chg="add mod">
          <ac:chgData name="Sadaf Yp" userId="c191f35bac568894" providerId="LiveId" clId="{2E3D243A-D65E-4D51-B5DA-BFE05DE3D5C0}" dt="2022-02-27T21:21:40.726" v="239" actId="1035"/>
          <ac:picMkLst>
            <pc:docMk/>
            <pc:sldMk cId="1679559450" sldId="363"/>
            <ac:picMk id="2" creationId="{EA6DC8DD-C9A8-4C58-9894-533559F64A20}"/>
          </ac:picMkLst>
        </pc:picChg>
      </pc:sldChg>
    </pc:docChg>
  </pc:docChgLst>
  <pc:docChgLst>
    <pc:chgData name="Ronny Georgi" userId="516b13485727eb9a" providerId="LiveId" clId="{669F18A1-3183-4623-B098-BEC40FDB9FF5}"/>
    <pc:docChg chg="custSel addSld delSld modSld sldOrd modSection replTag">
      <pc:chgData name="Ronny Georgi" userId="516b13485727eb9a" providerId="LiveId" clId="{669F18A1-3183-4623-B098-BEC40FDB9FF5}" dt="2022-02-13T20:28:44.478" v="1076" actId="1076"/>
      <pc:docMkLst>
        <pc:docMk/>
      </pc:docMkLst>
      <pc:sldChg chg="addSp delSp modSp mod">
        <pc:chgData name="Ronny Georgi" userId="516b13485727eb9a" providerId="LiveId" clId="{669F18A1-3183-4623-B098-BEC40FDB9FF5}" dt="2022-02-13T20:24:37.091" v="901"/>
        <pc:sldMkLst>
          <pc:docMk/>
          <pc:sldMk cId="3392647782" sldId="300"/>
        </pc:sldMkLst>
        <pc:spChg chg="add mod">
          <ac:chgData name="Ronny Georgi" userId="516b13485727eb9a" providerId="LiveId" clId="{669F18A1-3183-4623-B098-BEC40FDB9FF5}" dt="2022-02-13T20:16:52.247" v="74" actId="478"/>
          <ac:spMkLst>
            <pc:docMk/>
            <pc:sldMk cId="3392647782" sldId="300"/>
            <ac:spMk id="3" creationId="{7D0964E8-033B-4455-B055-500EFA3F708E}"/>
          </ac:spMkLst>
        </pc:spChg>
        <pc:spChg chg="del mod ord replST">
          <ac:chgData name="Ronny Georgi" userId="516b13485727eb9a" providerId="LiveId" clId="{669F18A1-3183-4623-B098-BEC40FDB9FF5}" dt="2022-02-13T20:17:13.415" v="485" actId="478"/>
          <ac:spMkLst>
            <pc:docMk/>
            <pc:sldMk cId="3392647782" sldId="300"/>
            <ac:spMk id="4" creationId="{4697A1CF-AE80-4189-861A-68756497B8D5}"/>
          </ac:spMkLst>
        </pc:spChg>
        <pc:spChg chg="replST">
          <ac:chgData name="Ronny Georgi" userId="516b13485727eb9a" providerId="LiveId" clId="{669F18A1-3183-4623-B098-BEC40FDB9FF5}" dt="2022-02-13T20:16:52.462" v="91"/>
          <ac:spMkLst>
            <pc:docMk/>
            <pc:sldMk cId="3392647782" sldId="300"/>
            <ac:spMk id="5" creationId="{2AD994E4-5328-4F7F-AFF1-F551A0890527}"/>
          </ac:spMkLst>
        </pc:spChg>
        <pc:spChg chg="replST">
          <ac:chgData name="Ronny Georgi" userId="516b13485727eb9a" providerId="LiveId" clId="{669F18A1-3183-4623-B098-BEC40FDB9FF5}" dt="2022-02-13T20:16:52.477" v="94"/>
          <ac:spMkLst>
            <pc:docMk/>
            <pc:sldMk cId="3392647782" sldId="300"/>
            <ac:spMk id="6" creationId="{23010C8D-7514-4A6E-AD2A-26FA6302AD8B}"/>
          </ac:spMkLst>
        </pc:spChg>
        <pc:spChg chg="replST">
          <ac:chgData name="Ronny Georgi" userId="516b13485727eb9a" providerId="LiveId" clId="{669F18A1-3183-4623-B098-BEC40FDB9FF5}" dt="2022-02-13T20:16:52.484" v="96"/>
          <ac:spMkLst>
            <pc:docMk/>
            <pc:sldMk cId="3392647782" sldId="300"/>
            <ac:spMk id="7" creationId="{40184C09-2D6E-4B16-8AAE-AF4F9FA1F320}"/>
          </ac:spMkLst>
        </pc:spChg>
        <pc:spChg chg="replST">
          <ac:chgData name="Ronny Georgi" userId="516b13485727eb9a" providerId="LiveId" clId="{669F18A1-3183-4623-B098-BEC40FDB9FF5}" dt="2022-02-13T20:16:52.489" v="99"/>
          <ac:spMkLst>
            <pc:docMk/>
            <pc:sldMk cId="3392647782" sldId="300"/>
            <ac:spMk id="8" creationId="{29E07A3A-823A-43A0-B13E-2927E387682E}"/>
          </ac:spMkLst>
        </pc:spChg>
        <pc:spChg chg="replST">
          <ac:chgData name="Ronny Georgi" userId="516b13485727eb9a" providerId="LiveId" clId="{669F18A1-3183-4623-B098-BEC40FDB9FF5}" dt="2022-02-13T20:16:52.502" v="102"/>
          <ac:spMkLst>
            <pc:docMk/>
            <pc:sldMk cId="3392647782" sldId="300"/>
            <ac:spMk id="9" creationId="{AE146CE1-75E5-4339-867E-E2B7B98B84CF}"/>
          </ac:spMkLst>
        </pc:spChg>
        <pc:spChg chg="replST">
          <ac:chgData name="Ronny Georgi" userId="516b13485727eb9a" providerId="LiveId" clId="{669F18A1-3183-4623-B098-BEC40FDB9FF5}" dt="2022-02-13T20:16:52.512" v="104"/>
          <ac:spMkLst>
            <pc:docMk/>
            <pc:sldMk cId="3392647782" sldId="300"/>
            <ac:spMk id="10" creationId="{ECA8DB1F-E6F3-4BB2-BCDB-81EBA3955102}"/>
          </ac:spMkLst>
        </pc:spChg>
        <pc:spChg chg="replST">
          <ac:chgData name="Ronny Georgi" userId="516b13485727eb9a" providerId="LiveId" clId="{669F18A1-3183-4623-B098-BEC40FDB9FF5}" dt="2022-02-13T20:16:52.517" v="107"/>
          <ac:spMkLst>
            <pc:docMk/>
            <pc:sldMk cId="3392647782" sldId="300"/>
            <ac:spMk id="11" creationId="{F7F687F7-0554-40B9-AF1A-7F0B1D91F037}"/>
          </ac:spMkLst>
        </pc:spChg>
        <pc:spChg chg="replST">
          <ac:chgData name="Ronny Georgi" userId="516b13485727eb9a" providerId="LiveId" clId="{669F18A1-3183-4623-B098-BEC40FDB9FF5}" dt="2022-02-13T20:16:52.527" v="110"/>
          <ac:spMkLst>
            <pc:docMk/>
            <pc:sldMk cId="3392647782" sldId="300"/>
            <ac:spMk id="12" creationId="{EA9FEA11-26D7-4BE3-8299-EFB93BE45785}"/>
          </ac:spMkLst>
        </pc:spChg>
        <pc:spChg chg="replST">
          <ac:chgData name="Ronny Georgi" userId="516b13485727eb9a" providerId="LiveId" clId="{669F18A1-3183-4623-B098-BEC40FDB9FF5}" dt="2022-02-13T20:16:52.531" v="112"/>
          <ac:spMkLst>
            <pc:docMk/>
            <pc:sldMk cId="3392647782" sldId="300"/>
            <ac:spMk id="13" creationId="{AE648F57-9806-4630-88DA-7DAFDE173403}"/>
          </ac:spMkLst>
        </pc:spChg>
        <pc:spChg chg="replST">
          <ac:chgData name="Ronny Georgi" userId="516b13485727eb9a" providerId="LiveId" clId="{669F18A1-3183-4623-B098-BEC40FDB9FF5}" dt="2022-02-13T20:16:52.533" v="115"/>
          <ac:spMkLst>
            <pc:docMk/>
            <pc:sldMk cId="3392647782" sldId="300"/>
            <ac:spMk id="14" creationId="{121A2389-C895-4172-BE80-E2184E55186A}"/>
          </ac:spMkLst>
        </pc:spChg>
        <pc:spChg chg="replST">
          <ac:chgData name="Ronny Georgi" userId="516b13485727eb9a" providerId="LiveId" clId="{669F18A1-3183-4623-B098-BEC40FDB9FF5}" dt="2022-02-13T20:16:52.540" v="117"/>
          <ac:spMkLst>
            <pc:docMk/>
            <pc:sldMk cId="3392647782" sldId="300"/>
            <ac:spMk id="15" creationId="{6EDF74D2-A134-47F3-993A-4B39D8C27EED}"/>
          </ac:spMkLst>
        </pc:spChg>
        <pc:spChg chg="replST">
          <ac:chgData name="Ronny Georgi" userId="516b13485727eb9a" providerId="LiveId" clId="{669F18A1-3183-4623-B098-BEC40FDB9FF5}" dt="2022-02-13T20:16:52.545" v="119"/>
          <ac:spMkLst>
            <pc:docMk/>
            <pc:sldMk cId="3392647782" sldId="300"/>
            <ac:spMk id="16" creationId="{C65A70C4-5B61-4A53-BE0E-66E019B47F39}"/>
          </ac:spMkLst>
        </pc:spChg>
        <pc:spChg chg="replST">
          <ac:chgData name="Ronny Georgi" userId="516b13485727eb9a" providerId="LiveId" clId="{669F18A1-3183-4623-B098-BEC40FDB9FF5}" dt="2022-02-13T20:16:52.556" v="122"/>
          <ac:spMkLst>
            <pc:docMk/>
            <pc:sldMk cId="3392647782" sldId="300"/>
            <ac:spMk id="17" creationId="{EA13D4DC-E0F7-4892-9E80-546B8C9A4365}"/>
          </ac:spMkLst>
        </pc:spChg>
        <pc:spChg chg="replST">
          <ac:chgData name="Ronny Georgi" userId="516b13485727eb9a" providerId="LiveId" clId="{669F18A1-3183-4623-B098-BEC40FDB9FF5}" dt="2022-02-13T20:16:52.579" v="124"/>
          <ac:spMkLst>
            <pc:docMk/>
            <pc:sldMk cId="3392647782" sldId="300"/>
            <ac:spMk id="18" creationId="{BE4C7806-D4AF-4BB4-B174-B5ECA00AF1F9}"/>
          </ac:spMkLst>
        </pc:spChg>
        <pc:spChg chg="replST">
          <ac:chgData name="Ronny Georgi" userId="516b13485727eb9a" providerId="LiveId" clId="{669F18A1-3183-4623-B098-BEC40FDB9FF5}" dt="2022-02-13T20:16:52.584" v="126"/>
          <ac:spMkLst>
            <pc:docMk/>
            <pc:sldMk cId="3392647782" sldId="300"/>
            <ac:spMk id="19" creationId="{CF828A4D-9013-4943-A77A-AD0D03E00BE3}"/>
          </ac:spMkLst>
        </pc:spChg>
        <pc:spChg chg="replST">
          <ac:chgData name="Ronny Georgi" userId="516b13485727eb9a" providerId="LiveId" clId="{669F18A1-3183-4623-B098-BEC40FDB9FF5}" dt="2022-02-13T20:16:52.587" v="129"/>
          <ac:spMkLst>
            <pc:docMk/>
            <pc:sldMk cId="3392647782" sldId="300"/>
            <ac:spMk id="20" creationId="{E1F28C91-F5DC-4EFB-B4B6-58BC79133D1F}"/>
          </ac:spMkLst>
        </pc:spChg>
        <pc:spChg chg="replST">
          <ac:chgData name="Ronny Georgi" userId="516b13485727eb9a" providerId="LiveId" clId="{669F18A1-3183-4623-B098-BEC40FDB9FF5}" dt="2022-02-13T20:16:52.598" v="131"/>
          <ac:spMkLst>
            <pc:docMk/>
            <pc:sldMk cId="3392647782" sldId="300"/>
            <ac:spMk id="21" creationId="{5C401542-A3CF-44EE-AF9F-B00233324378}"/>
          </ac:spMkLst>
        </pc:spChg>
        <pc:spChg chg="replST">
          <ac:chgData name="Ronny Georgi" userId="516b13485727eb9a" providerId="LiveId" clId="{669F18A1-3183-4623-B098-BEC40FDB9FF5}" dt="2022-02-13T20:16:52.601" v="133"/>
          <ac:spMkLst>
            <pc:docMk/>
            <pc:sldMk cId="3392647782" sldId="300"/>
            <ac:spMk id="22" creationId="{1543C627-71D1-4AB8-9277-FF85C859EF11}"/>
          </ac:spMkLst>
        </pc:spChg>
        <pc:spChg chg="add mod">
          <ac:chgData name="Ronny Georgi" userId="516b13485727eb9a" providerId="LiveId" clId="{669F18A1-3183-4623-B098-BEC40FDB9FF5}" dt="2022-02-13T20:17:13.415" v="485" actId="478"/>
          <ac:spMkLst>
            <pc:docMk/>
            <pc:sldMk cId="3392647782" sldId="300"/>
            <ac:spMk id="24" creationId="{4FDCC773-6104-43A0-8E2A-9086C2EDACEC}"/>
          </ac:spMkLst>
        </pc:spChg>
        <pc:spChg chg="del mod ord replST">
          <ac:chgData name="Ronny Georgi" userId="516b13485727eb9a" providerId="LiveId" clId="{669F18A1-3183-4623-B098-BEC40FDB9FF5}" dt="2022-02-13T20:24:36.956" v="868" actId="478"/>
          <ac:spMkLst>
            <pc:docMk/>
            <pc:sldMk cId="3392647782" sldId="300"/>
            <ac:spMk id="25" creationId="{FC5071B8-4CC6-4A8E-85D4-18DAC9047F89}"/>
          </ac:spMkLst>
        </pc:spChg>
        <pc:spChg chg="replST">
          <ac:chgData name="Ronny Georgi" userId="516b13485727eb9a" providerId="LiveId" clId="{669F18A1-3183-4623-B098-BEC40FDB9FF5}" dt="2022-02-13T20:17:13.537" v="496"/>
          <ac:spMkLst>
            <pc:docMk/>
            <pc:sldMk cId="3392647782" sldId="300"/>
            <ac:spMk id="26" creationId="{7DCCFB8E-5A65-4993-90A9-5804081B558C}"/>
          </ac:spMkLst>
        </pc:spChg>
        <pc:spChg chg="replST">
          <ac:chgData name="Ronny Georgi" userId="516b13485727eb9a" providerId="LiveId" clId="{669F18A1-3183-4623-B098-BEC40FDB9FF5}" dt="2022-02-13T20:17:13.548" v="499"/>
          <ac:spMkLst>
            <pc:docMk/>
            <pc:sldMk cId="3392647782" sldId="300"/>
            <ac:spMk id="27" creationId="{A8E0FEAF-7508-474F-B876-48CD18F1E505}"/>
          </ac:spMkLst>
        </pc:spChg>
        <pc:spChg chg="replST">
          <ac:chgData name="Ronny Georgi" userId="516b13485727eb9a" providerId="LiveId" clId="{669F18A1-3183-4623-B098-BEC40FDB9FF5}" dt="2022-02-13T20:17:13.554" v="501"/>
          <ac:spMkLst>
            <pc:docMk/>
            <pc:sldMk cId="3392647782" sldId="300"/>
            <ac:spMk id="28" creationId="{B5FD6F9D-DFE3-4667-878C-EF70E56A7A90}"/>
          </ac:spMkLst>
        </pc:spChg>
        <pc:spChg chg="replST">
          <ac:chgData name="Ronny Georgi" userId="516b13485727eb9a" providerId="LiveId" clId="{669F18A1-3183-4623-B098-BEC40FDB9FF5}" dt="2022-02-13T20:17:13.558" v="504"/>
          <ac:spMkLst>
            <pc:docMk/>
            <pc:sldMk cId="3392647782" sldId="300"/>
            <ac:spMk id="29" creationId="{18C76607-A96A-45C5-BCD7-CCB575331C1C}"/>
          </ac:spMkLst>
        </pc:spChg>
        <pc:spChg chg="replST">
          <ac:chgData name="Ronny Georgi" userId="516b13485727eb9a" providerId="LiveId" clId="{669F18A1-3183-4623-B098-BEC40FDB9FF5}" dt="2022-02-13T20:17:13.565" v="507"/>
          <ac:spMkLst>
            <pc:docMk/>
            <pc:sldMk cId="3392647782" sldId="300"/>
            <ac:spMk id="30" creationId="{5101A959-667D-4CC9-BDA5-254FE965390D}"/>
          </ac:spMkLst>
        </pc:spChg>
        <pc:spChg chg="replST">
          <ac:chgData name="Ronny Georgi" userId="516b13485727eb9a" providerId="LiveId" clId="{669F18A1-3183-4623-B098-BEC40FDB9FF5}" dt="2022-02-13T20:17:13.574" v="509"/>
          <ac:spMkLst>
            <pc:docMk/>
            <pc:sldMk cId="3392647782" sldId="300"/>
            <ac:spMk id="31" creationId="{611E9EA7-6F1E-411F-A4C2-AD407BCBDD79}"/>
          </ac:spMkLst>
        </pc:spChg>
        <pc:spChg chg="del">
          <ac:chgData name="Ronny Georgi" userId="516b13485727eb9a" providerId="LiveId" clId="{669F18A1-3183-4623-B098-BEC40FDB9FF5}" dt="2022-02-13T20:16:52.247" v="74" actId="478"/>
          <ac:spMkLst>
            <pc:docMk/>
            <pc:sldMk cId="3392647782" sldId="300"/>
            <ac:spMk id="32" creationId="{CBADF3A3-AD19-42FE-920C-625709CC64DA}"/>
          </ac:spMkLst>
        </pc:spChg>
        <pc:spChg chg="replST">
          <ac:chgData name="Ronny Georgi" userId="516b13485727eb9a" providerId="LiveId" clId="{669F18A1-3183-4623-B098-BEC40FDB9FF5}" dt="2022-02-13T20:17:13.581" v="512"/>
          <ac:spMkLst>
            <pc:docMk/>
            <pc:sldMk cId="3392647782" sldId="300"/>
            <ac:spMk id="51" creationId="{25EAC290-8F88-4809-8CDB-C9D104F7F800}"/>
          </ac:spMkLst>
        </pc:spChg>
        <pc:spChg chg="replST">
          <ac:chgData name="Ronny Georgi" userId="516b13485727eb9a" providerId="LiveId" clId="{669F18A1-3183-4623-B098-BEC40FDB9FF5}" dt="2022-02-13T20:17:13.595" v="515"/>
          <ac:spMkLst>
            <pc:docMk/>
            <pc:sldMk cId="3392647782" sldId="300"/>
            <ac:spMk id="52" creationId="{22B3E405-8390-49D7-836A-B86F54230B6E}"/>
          </ac:spMkLst>
        </pc:spChg>
        <pc:spChg chg="replST">
          <ac:chgData name="Ronny Georgi" userId="516b13485727eb9a" providerId="LiveId" clId="{669F18A1-3183-4623-B098-BEC40FDB9FF5}" dt="2022-02-13T20:17:13.601" v="517"/>
          <ac:spMkLst>
            <pc:docMk/>
            <pc:sldMk cId="3392647782" sldId="300"/>
            <ac:spMk id="53" creationId="{9E96FA58-A494-4204-85F2-E024B8C8BD7F}"/>
          </ac:spMkLst>
        </pc:spChg>
        <pc:spChg chg="add mod">
          <ac:chgData name="Ronny Georgi" userId="516b13485727eb9a" providerId="LiveId" clId="{669F18A1-3183-4623-B098-BEC40FDB9FF5}" dt="2022-02-13T20:24:36.956" v="868" actId="478"/>
          <ac:spMkLst>
            <pc:docMk/>
            <pc:sldMk cId="3392647782" sldId="300"/>
            <ac:spMk id="55" creationId="{8216313B-938C-4C6F-BE96-546B9AF61F52}"/>
          </ac:spMkLst>
        </pc:spChg>
        <pc:spChg chg="mod ord replST">
          <ac:chgData name="Ronny Georgi" userId="516b13485727eb9a" providerId="LiveId" clId="{669F18A1-3183-4623-B098-BEC40FDB9FF5}" dt="2022-02-13T20:24:37.091" v="901"/>
          <ac:spMkLst>
            <pc:docMk/>
            <pc:sldMk cId="3392647782" sldId="300"/>
            <ac:spMk id="56" creationId="{A3218E69-0A3F-4265-BDDF-FF1B2B0FE116}"/>
          </ac:spMkLst>
        </pc:spChg>
        <pc:spChg chg="replST">
          <ac:chgData name="Ronny Georgi" userId="516b13485727eb9a" providerId="LiveId" clId="{669F18A1-3183-4623-B098-BEC40FDB9FF5}" dt="2022-02-13T20:24:37.034" v="879"/>
          <ac:spMkLst>
            <pc:docMk/>
            <pc:sldMk cId="3392647782" sldId="300"/>
            <ac:spMk id="57" creationId="{0D54EA5D-334B-444E-B581-259AA06CF828}"/>
          </ac:spMkLst>
        </pc:spChg>
        <pc:spChg chg="replST">
          <ac:chgData name="Ronny Georgi" userId="516b13485727eb9a" providerId="LiveId" clId="{669F18A1-3183-4623-B098-BEC40FDB9FF5}" dt="2022-02-13T20:24:37.052" v="882"/>
          <ac:spMkLst>
            <pc:docMk/>
            <pc:sldMk cId="3392647782" sldId="300"/>
            <ac:spMk id="58" creationId="{15D028A7-5AC4-4D4D-BE87-C468B73DC08B}"/>
          </ac:spMkLst>
        </pc:spChg>
        <pc:spChg chg="replST">
          <ac:chgData name="Ronny Georgi" userId="516b13485727eb9a" providerId="LiveId" clId="{669F18A1-3183-4623-B098-BEC40FDB9FF5}" dt="2022-02-13T20:24:37.058" v="884"/>
          <ac:spMkLst>
            <pc:docMk/>
            <pc:sldMk cId="3392647782" sldId="300"/>
            <ac:spMk id="59" creationId="{16A3DD1D-E86C-4C8B-B1D4-DECD8EC392EA}"/>
          </ac:spMkLst>
        </pc:spChg>
        <pc:spChg chg="replST">
          <ac:chgData name="Ronny Georgi" userId="516b13485727eb9a" providerId="LiveId" clId="{669F18A1-3183-4623-B098-BEC40FDB9FF5}" dt="2022-02-13T20:24:37.061" v="887"/>
          <ac:spMkLst>
            <pc:docMk/>
            <pc:sldMk cId="3392647782" sldId="300"/>
            <ac:spMk id="60" creationId="{4CC269CC-8AB6-4174-B520-D15ED92F1890}"/>
          </ac:spMkLst>
        </pc:spChg>
        <pc:spChg chg="replST">
          <ac:chgData name="Ronny Georgi" userId="516b13485727eb9a" providerId="LiveId" clId="{669F18A1-3183-4623-B098-BEC40FDB9FF5}" dt="2022-02-13T20:24:37.069" v="890"/>
          <ac:spMkLst>
            <pc:docMk/>
            <pc:sldMk cId="3392647782" sldId="300"/>
            <ac:spMk id="61" creationId="{2AEB0248-89DF-4E54-9CCF-F26BA2088BE9}"/>
          </ac:spMkLst>
        </pc:spChg>
        <pc:spChg chg="replST">
          <ac:chgData name="Ronny Georgi" userId="516b13485727eb9a" providerId="LiveId" clId="{669F18A1-3183-4623-B098-BEC40FDB9FF5}" dt="2022-02-13T20:24:37.074" v="892"/>
          <ac:spMkLst>
            <pc:docMk/>
            <pc:sldMk cId="3392647782" sldId="300"/>
            <ac:spMk id="62" creationId="{968F1CA2-42BB-4A75-9B73-1E7D7331E5ED}"/>
          </ac:spMkLst>
        </pc:spChg>
        <pc:spChg chg="replST">
          <ac:chgData name="Ronny Georgi" userId="516b13485727eb9a" providerId="LiveId" clId="{669F18A1-3183-4623-B098-BEC40FDB9FF5}" dt="2022-02-13T20:24:37.078" v="895"/>
          <ac:spMkLst>
            <pc:docMk/>
            <pc:sldMk cId="3392647782" sldId="300"/>
            <ac:spMk id="63" creationId="{31766BEE-5367-48AD-AEB2-313FE599AEDA}"/>
          </ac:spMkLst>
        </pc:spChg>
        <pc:spChg chg="replST">
          <ac:chgData name="Ronny Georgi" userId="516b13485727eb9a" providerId="LiveId" clId="{669F18A1-3183-4623-B098-BEC40FDB9FF5}" dt="2022-02-13T20:24:37.085" v="898"/>
          <ac:spMkLst>
            <pc:docMk/>
            <pc:sldMk cId="3392647782" sldId="300"/>
            <ac:spMk id="64" creationId="{F08AEF08-03EB-42D9-8C74-6BCF85D03D64}"/>
          </ac:spMkLst>
        </pc:spChg>
        <pc:spChg chg="replST">
          <ac:chgData name="Ronny Georgi" userId="516b13485727eb9a" providerId="LiveId" clId="{669F18A1-3183-4623-B098-BEC40FDB9FF5}" dt="2022-02-13T20:24:37.090" v="900"/>
          <ac:spMkLst>
            <pc:docMk/>
            <pc:sldMk cId="3392647782" sldId="300"/>
            <ac:spMk id="65" creationId="{A2CFF124-CDCA-4F96-A823-501381C21997}"/>
          </ac:spMkLst>
        </pc:spChg>
      </pc:sldChg>
      <pc:sldChg chg="addSp delSp modSp mod">
        <pc:chgData name="Ronny Georgi" userId="516b13485727eb9a" providerId="LiveId" clId="{669F18A1-3183-4623-B098-BEC40FDB9FF5}" dt="2022-02-13T20:24:37.179" v="930"/>
        <pc:sldMkLst>
          <pc:docMk/>
          <pc:sldMk cId="2588455400" sldId="301"/>
        </pc:sldMkLst>
        <pc:spChg chg="add mod">
          <ac:chgData name="Ronny Georgi" userId="516b13485727eb9a" providerId="LiveId" clId="{669F18A1-3183-4623-B098-BEC40FDB9FF5}" dt="2022-02-13T20:16:52.304" v="75" actId="478"/>
          <ac:spMkLst>
            <pc:docMk/>
            <pc:sldMk cId="2588455400" sldId="301"/>
            <ac:spMk id="3" creationId="{13D1FA95-CD7B-48D9-AC90-E2985CDC1DB3}"/>
          </ac:spMkLst>
        </pc:spChg>
        <pc:spChg chg="del mod ord replST">
          <ac:chgData name="Ronny Georgi" userId="516b13485727eb9a" providerId="LiveId" clId="{669F18A1-3183-4623-B098-BEC40FDB9FF5}" dt="2022-02-13T20:17:13.470" v="486" actId="478"/>
          <ac:spMkLst>
            <pc:docMk/>
            <pc:sldMk cId="2588455400" sldId="301"/>
            <ac:spMk id="4" creationId="{08853381-6097-49FB-AEDE-45BFE0EBB999}"/>
          </ac:spMkLst>
        </pc:spChg>
        <pc:spChg chg="replST">
          <ac:chgData name="Ronny Georgi" userId="516b13485727eb9a" providerId="LiveId" clId="{669F18A1-3183-4623-B098-BEC40FDB9FF5}" dt="2022-02-13T20:16:52.643" v="139"/>
          <ac:spMkLst>
            <pc:docMk/>
            <pc:sldMk cId="2588455400" sldId="301"/>
            <ac:spMk id="5" creationId="{854744FA-C4A3-4091-8A45-E3F40A2E6ED6}"/>
          </ac:spMkLst>
        </pc:spChg>
        <pc:spChg chg="replST">
          <ac:chgData name="Ronny Georgi" userId="516b13485727eb9a" providerId="LiveId" clId="{669F18A1-3183-4623-B098-BEC40FDB9FF5}" dt="2022-02-13T20:16:52.651" v="142"/>
          <ac:spMkLst>
            <pc:docMk/>
            <pc:sldMk cId="2588455400" sldId="301"/>
            <ac:spMk id="6" creationId="{6E8E4053-8698-49F3-81AB-9646E28729CC}"/>
          </ac:spMkLst>
        </pc:spChg>
        <pc:spChg chg="replST">
          <ac:chgData name="Ronny Georgi" userId="516b13485727eb9a" providerId="LiveId" clId="{669F18A1-3183-4623-B098-BEC40FDB9FF5}" dt="2022-02-13T20:16:52.655" v="144"/>
          <ac:spMkLst>
            <pc:docMk/>
            <pc:sldMk cId="2588455400" sldId="301"/>
            <ac:spMk id="7" creationId="{ED310478-C772-4218-9FE8-AD12BB7D2AB1}"/>
          </ac:spMkLst>
        </pc:spChg>
        <pc:spChg chg="del ord replST">
          <ac:chgData name="Ronny Georgi" userId="516b13485727eb9a" providerId="LiveId" clId="{669F18A1-3183-4623-B098-BEC40FDB9FF5}" dt="2022-02-13T20:17:13.477" v="487" actId="478"/>
          <ac:spMkLst>
            <pc:docMk/>
            <pc:sldMk cId="2588455400" sldId="301"/>
            <ac:spMk id="8" creationId="{38ACEA9E-E8A6-413F-8397-7622CF8006F8}"/>
          </ac:spMkLst>
        </pc:spChg>
        <pc:spChg chg="replST">
          <ac:chgData name="Ronny Georgi" userId="516b13485727eb9a" providerId="LiveId" clId="{669F18A1-3183-4623-B098-BEC40FDB9FF5}" dt="2022-02-13T20:16:52.668" v="148"/>
          <ac:spMkLst>
            <pc:docMk/>
            <pc:sldMk cId="2588455400" sldId="301"/>
            <ac:spMk id="9" creationId="{765C699C-099D-48DC-A96A-B3A6D90CDD4A}"/>
          </ac:spMkLst>
        </pc:spChg>
        <pc:spChg chg="replST">
          <ac:chgData name="Ronny Georgi" userId="516b13485727eb9a" providerId="LiveId" clId="{669F18A1-3183-4623-B098-BEC40FDB9FF5}" dt="2022-02-13T20:16:52.686" v="151"/>
          <ac:spMkLst>
            <pc:docMk/>
            <pc:sldMk cId="2588455400" sldId="301"/>
            <ac:spMk id="10" creationId="{162C50FA-014A-4016-B1F2-C67E769A33C4}"/>
          </ac:spMkLst>
        </pc:spChg>
        <pc:spChg chg="replST">
          <ac:chgData name="Ronny Georgi" userId="516b13485727eb9a" providerId="LiveId" clId="{669F18A1-3183-4623-B098-BEC40FDB9FF5}" dt="2022-02-13T20:16:52.695" v="153"/>
          <ac:spMkLst>
            <pc:docMk/>
            <pc:sldMk cId="2588455400" sldId="301"/>
            <ac:spMk id="11" creationId="{EE10B0BE-152E-4C6C-A0D3-D6D905B027FE}"/>
          </ac:spMkLst>
        </pc:spChg>
        <pc:spChg chg="replST">
          <ac:chgData name="Ronny Georgi" userId="516b13485727eb9a" providerId="LiveId" clId="{669F18A1-3183-4623-B098-BEC40FDB9FF5}" dt="2022-02-13T20:16:52.700" v="156"/>
          <ac:spMkLst>
            <pc:docMk/>
            <pc:sldMk cId="2588455400" sldId="301"/>
            <ac:spMk id="12" creationId="{C2291397-9F0F-4E74-A897-EDB00A2E5391}"/>
          </ac:spMkLst>
        </pc:spChg>
        <pc:spChg chg="replST">
          <ac:chgData name="Ronny Georgi" userId="516b13485727eb9a" providerId="LiveId" clId="{669F18A1-3183-4623-B098-BEC40FDB9FF5}" dt="2022-02-13T20:16:52.710" v="159"/>
          <ac:spMkLst>
            <pc:docMk/>
            <pc:sldMk cId="2588455400" sldId="301"/>
            <ac:spMk id="13" creationId="{BF81461D-E16F-4F9B-9D11-7690B260DC2D}"/>
          </ac:spMkLst>
        </pc:spChg>
        <pc:spChg chg="replST">
          <ac:chgData name="Ronny Georgi" userId="516b13485727eb9a" providerId="LiveId" clId="{669F18A1-3183-4623-B098-BEC40FDB9FF5}" dt="2022-02-13T20:16:52.718" v="161"/>
          <ac:spMkLst>
            <pc:docMk/>
            <pc:sldMk cId="2588455400" sldId="301"/>
            <ac:spMk id="14" creationId="{C9D99E4D-60A5-48D1-94FD-B916CDD316E9}"/>
          </ac:spMkLst>
        </pc:spChg>
        <pc:spChg chg="replST">
          <ac:chgData name="Ronny Georgi" userId="516b13485727eb9a" providerId="LiveId" clId="{669F18A1-3183-4623-B098-BEC40FDB9FF5}" dt="2022-02-13T20:16:52.722" v="164"/>
          <ac:spMkLst>
            <pc:docMk/>
            <pc:sldMk cId="2588455400" sldId="301"/>
            <ac:spMk id="15" creationId="{EE250E72-7C88-4EAF-A45D-C45D4B81D609}"/>
          </ac:spMkLst>
        </pc:spChg>
        <pc:spChg chg="replST">
          <ac:chgData name="Ronny Georgi" userId="516b13485727eb9a" providerId="LiveId" clId="{669F18A1-3183-4623-B098-BEC40FDB9FF5}" dt="2022-02-13T20:16:52.735" v="166"/>
          <ac:spMkLst>
            <pc:docMk/>
            <pc:sldMk cId="2588455400" sldId="301"/>
            <ac:spMk id="16" creationId="{562BD62F-9E89-49A9-BAF5-A0D93FD59C85}"/>
          </ac:spMkLst>
        </pc:spChg>
        <pc:spChg chg="replST">
          <ac:chgData name="Ronny Georgi" userId="516b13485727eb9a" providerId="LiveId" clId="{669F18A1-3183-4623-B098-BEC40FDB9FF5}" dt="2022-02-13T20:16:52.743" v="168"/>
          <ac:spMkLst>
            <pc:docMk/>
            <pc:sldMk cId="2588455400" sldId="301"/>
            <ac:spMk id="17" creationId="{1A384630-BAE7-4A08-A940-0BCF88F831DB}"/>
          </ac:spMkLst>
        </pc:spChg>
        <pc:spChg chg="replST">
          <ac:chgData name="Ronny Georgi" userId="516b13485727eb9a" providerId="LiveId" clId="{669F18A1-3183-4623-B098-BEC40FDB9FF5}" dt="2022-02-13T20:16:52.746" v="171"/>
          <ac:spMkLst>
            <pc:docMk/>
            <pc:sldMk cId="2588455400" sldId="301"/>
            <ac:spMk id="18" creationId="{E9CA784A-38C3-40F1-ABD7-C6C6E78E64AD}"/>
          </ac:spMkLst>
        </pc:spChg>
        <pc:spChg chg="replST">
          <ac:chgData name="Ronny Georgi" userId="516b13485727eb9a" providerId="LiveId" clId="{669F18A1-3183-4623-B098-BEC40FDB9FF5}" dt="2022-02-13T20:16:52.759" v="173"/>
          <ac:spMkLst>
            <pc:docMk/>
            <pc:sldMk cId="2588455400" sldId="301"/>
            <ac:spMk id="19" creationId="{69AC9C88-FCE9-4138-B751-7BAA4AD59ED8}"/>
          </ac:spMkLst>
        </pc:spChg>
        <pc:spChg chg="replST">
          <ac:chgData name="Ronny Georgi" userId="516b13485727eb9a" providerId="LiveId" clId="{669F18A1-3183-4623-B098-BEC40FDB9FF5}" dt="2022-02-13T20:16:52.766" v="175"/>
          <ac:spMkLst>
            <pc:docMk/>
            <pc:sldMk cId="2588455400" sldId="301"/>
            <ac:spMk id="20" creationId="{90D90F17-4D20-48E9-A29D-81AF0DE5ABC1}"/>
          </ac:spMkLst>
        </pc:spChg>
        <pc:spChg chg="replST">
          <ac:chgData name="Ronny Georgi" userId="516b13485727eb9a" providerId="LiveId" clId="{669F18A1-3183-4623-B098-BEC40FDB9FF5}" dt="2022-02-13T20:16:52.769" v="178"/>
          <ac:spMkLst>
            <pc:docMk/>
            <pc:sldMk cId="2588455400" sldId="301"/>
            <ac:spMk id="21" creationId="{C13E197F-E967-498A-988C-E50167ABE221}"/>
          </ac:spMkLst>
        </pc:spChg>
        <pc:spChg chg="replST">
          <ac:chgData name="Ronny Georgi" userId="516b13485727eb9a" providerId="LiveId" clId="{669F18A1-3183-4623-B098-BEC40FDB9FF5}" dt="2022-02-13T20:16:52.776" v="180"/>
          <ac:spMkLst>
            <pc:docMk/>
            <pc:sldMk cId="2588455400" sldId="301"/>
            <ac:spMk id="22" creationId="{18FFE820-9AB6-4D68-9151-1E8C376E58C6}"/>
          </ac:spMkLst>
        </pc:spChg>
        <pc:spChg chg="replST">
          <ac:chgData name="Ronny Georgi" userId="516b13485727eb9a" providerId="LiveId" clId="{669F18A1-3183-4623-B098-BEC40FDB9FF5}" dt="2022-02-13T20:16:52.785" v="182"/>
          <ac:spMkLst>
            <pc:docMk/>
            <pc:sldMk cId="2588455400" sldId="301"/>
            <ac:spMk id="23" creationId="{A05043E7-A147-47D5-9070-734724D25504}"/>
          </ac:spMkLst>
        </pc:spChg>
        <pc:spChg chg="add mod">
          <ac:chgData name="Ronny Georgi" userId="516b13485727eb9a" providerId="LiveId" clId="{669F18A1-3183-4623-B098-BEC40FDB9FF5}" dt="2022-02-13T20:17:13.470" v="486" actId="478"/>
          <ac:spMkLst>
            <pc:docMk/>
            <pc:sldMk cId="2588455400" sldId="301"/>
            <ac:spMk id="25" creationId="{E602B4A8-A769-4B50-8E6A-FC39AAEE7976}"/>
          </ac:spMkLst>
        </pc:spChg>
        <pc:spChg chg="del mod ord replST">
          <ac:chgData name="Ronny Georgi" userId="516b13485727eb9a" providerId="LiveId" clId="{669F18A1-3183-4623-B098-BEC40FDB9FF5}" dt="2022-02-13T20:24:36.988" v="869" actId="478"/>
          <ac:spMkLst>
            <pc:docMk/>
            <pc:sldMk cId="2588455400" sldId="301"/>
            <ac:spMk id="26" creationId="{464AE54D-DABE-430E-B223-84CB6B23DF8F}"/>
          </ac:spMkLst>
        </pc:spChg>
        <pc:spChg chg="replST">
          <ac:chgData name="Ronny Georgi" userId="516b13485727eb9a" providerId="LiveId" clId="{669F18A1-3183-4623-B098-BEC40FDB9FF5}" dt="2022-02-13T20:17:13.639" v="523"/>
          <ac:spMkLst>
            <pc:docMk/>
            <pc:sldMk cId="2588455400" sldId="301"/>
            <ac:spMk id="27" creationId="{D3923F44-669C-4863-A0C7-DD1E864250BF}"/>
          </ac:spMkLst>
        </pc:spChg>
        <pc:spChg chg="replST">
          <ac:chgData name="Ronny Georgi" userId="516b13485727eb9a" providerId="LiveId" clId="{669F18A1-3183-4623-B098-BEC40FDB9FF5}" dt="2022-02-13T20:17:13.655" v="526"/>
          <ac:spMkLst>
            <pc:docMk/>
            <pc:sldMk cId="2588455400" sldId="301"/>
            <ac:spMk id="28" creationId="{200794DA-DD52-435D-85D8-E26D74124A16}"/>
          </ac:spMkLst>
        </pc:spChg>
        <pc:spChg chg="replST">
          <ac:chgData name="Ronny Georgi" userId="516b13485727eb9a" providerId="LiveId" clId="{669F18A1-3183-4623-B098-BEC40FDB9FF5}" dt="2022-02-13T20:17:13.660" v="528"/>
          <ac:spMkLst>
            <pc:docMk/>
            <pc:sldMk cId="2588455400" sldId="301"/>
            <ac:spMk id="29" creationId="{4EA8BE00-E257-4259-BD4C-DAC52964A9E3}"/>
          </ac:spMkLst>
        </pc:spChg>
        <pc:spChg chg="del ord replST">
          <ac:chgData name="Ronny Georgi" userId="516b13485727eb9a" providerId="LiveId" clId="{669F18A1-3183-4623-B098-BEC40FDB9FF5}" dt="2022-02-13T20:24:36.992" v="870" actId="478"/>
          <ac:spMkLst>
            <pc:docMk/>
            <pc:sldMk cId="2588455400" sldId="301"/>
            <ac:spMk id="30" creationId="{233596F8-A03A-43E6-BE8F-6240A98035E9}"/>
          </ac:spMkLst>
        </pc:spChg>
        <pc:spChg chg="replST">
          <ac:chgData name="Ronny Georgi" userId="516b13485727eb9a" providerId="LiveId" clId="{669F18A1-3183-4623-B098-BEC40FDB9FF5}" dt="2022-02-13T20:17:13.665" v="532"/>
          <ac:spMkLst>
            <pc:docMk/>
            <pc:sldMk cId="2588455400" sldId="301"/>
            <ac:spMk id="31" creationId="{B6305192-FDBF-472C-AC38-CBDE8BB718E0}"/>
          </ac:spMkLst>
        </pc:spChg>
        <pc:spChg chg="replST">
          <ac:chgData name="Ronny Georgi" userId="516b13485727eb9a" providerId="LiveId" clId="{669F18A1-3183-4623-B098-BEC40FDB9FF5}" dt="2022-02-13T20:17:13.679" v="535"/>
          <ac:spMkLst>
            <pc:docMk/>
            <pc:sldMk cId="2588455400" sldId="301"/>
            <ac:spMk id="32" creationId="{33E6EAD6-63BF-42FC-BB68-CFE5D8B548D0}"/>
          </ac:spMkLst>
        </pc:spChg>
        <pc:spChg chg="replST">
          <ac:chgData name="Ronny Georgi" userId="516b13485727eb9a" providerId="LiveId" clId="{669F18A1-3183-4623-B098-BEC40FDB9FF5}" dt="2022-02-13T20:17:13.685" v="537"/>
          <ac:spMkLst>
            <pc:docMk/>
            <pc:sldMk cId="2588455400" sldId="301"/>
            <ac:spMk id="33" creationId="{80656ECA-A284-4981-879A-95A97B4C4A46}"/>
          </ac:spMkLst>
        </pc:spChg>
        <pc:spChg chg="del">
          <ac:chgData name="Ronny Georgi" userId="516b13485727eb9a" providerId="LiveId" clId="{669F18A1-3183-4623-B098-BEC40FDB9FF5}" dt="2022-02-13T20:16:52.304" v="75" actId="478"/>
          <ac:spMkLst>
            <pc:docMk/>
            <pc:sldMk cId="2588455400" sldId="301"/>
            <ac:spMk id="34" creationId="{F1A04661-E1EC-4C72-84C6-1F2D424C0AF5}"/>
          </ac:spMkLst>
        </pc:spChg>
        <pc:spChg chg="del">
          <ac:chgData name="Ronny Georgi" userId="516b13485727eb9a" providerId="LiveId" clId="{669F18A1-3183-4623-B098-BEC40FDB9FF5}" dt="2022-02-13T20:16:52.306" v="76" actId="478"/>
          <ac:spMkLst>
            <pc:docMk/>
            <pc:sldMk cId="2588455400" sldId="301"/>
            <ac:spMk id="38" creationId="{375E39BD-B578-4330-BCFB-7FAEAB77C7A0}"/>
          </ac:spMkLst>
        </pc:spChg>
        <pc:spChg chg="replST">
          <ac:chgData name="Ronny Georgi" userId="516b13485727eb9a" providerId="LiveId" clId="{669F18A1-3183-4623-B098-BEC40FDB9FF5}" dt="2022-02-13T20:17:13.694" v="540"/>
          <ac:spMkLst>
            <pc:docMk/>
            <pc:sldMk cId="2588455400" sldId="301"/>
            <ac:spMk id="54" creationId="{EFB7D3E0-3B33-4AD9-91DB-A4DBF8FECE16}"/>
          </ac:spMkLst>
        </pc:spChg>
        <pc:spChg chg="replST">
          <ac:chgData name="Ronny Georgi" userId="516b13485727eb9a" providerId="LiveId" clId="{669F18A1-3183-4623-B098-BEC40FDB9FF5}" dt="2022-02-13T20:17:13.710" v="543"/>
          <ac:spMkLst>
            <pc:docMk/>
            <pc:sldMk cId="2588455400" sldId="301"/>
            <ac:spMk id="55" creationId="{F14D7986-D82C-4D16-9EC1-C508213C19DF}"/>
          </ac:spMkLst>
        </pc:spChg>
        <pc:spChg chg="replST">
          <ac:chgData name="Ronny Georgi" userId="516b13485727eb9a" providerId="LiveId" clId="{669F18A1-3183-4623-B098-BEC40FDB9FF5}" dt="2022-02-13T20:17:13.715" v="545"/>
          <ac:spMkLst>
            <pc:docMk/>
            <pc:sldMk cId="2588455400" sldId="301"/>
            <ac:spMk id="56" creationId="{64338C1B-7E1C-4007-B3E6-06F99A05CC8B}"/>
          </ac:spMkLst>
        </pc:spChg>
        <pc:spChg chg="add mod">
          <ac:chgData name="Ronny Georgi" userId="516b13485727eb9a" providerId="LiveId" clId="{669F18A1-3183-4623-B098-BEC40FDB9FF5}" dt="2022-02-13T20:24:36.988" v="869" actId="478"/>
          <ac:spMkLst>
            <pc:docMk/>
            <pc:sldMk cId="2588455400" sldId="301"/>
            <ac:spMk id="58" creationId="{11CE83B0-1353-4FF7-B18F-69E53A261C69}"/>
          </ac:spMkLst>
        </pc:spChg>
        <pc:spChg chg="mod ord replST">
          <ac:chgData name="Ronny Georgi" userId="516b13485727eb9a" providerId="LiveId" clId="{669F18A1-3183-4623-B098-BEC40FDB9FF5}" dt="2022-02-13T20:24:37.177" v="929"/>
          <ac:spMkLst>
            <pc:docMk/>
            <pc:sldMk cId="2588455400" sldId="301"/>
            <ac:spMk id="59" creationId="{524F8950-8CBA-4171-B7FA-6202A6876C33}"/>
          </ac:spMkLst>
        </pc:spChg>
        <pc:spChg chg="replST">
          <ac:chgData name="Ronny Georgi" userId="516b13485727eb9a" providerId="LiveId" clId="{669F18A1-3183-4623-B098-BEC40FDB9FF5}" dt="2022-02-13T20:24:37.115" v="906"/>
          <ac:spMkLst>
            <pc:docMk/>
            <pc:sldMk cId="2588455400" sldId="301"/>
            <ac:spMk id="60" creationId="{582E4325-0AA8-4FB1-961C-7F3D9D816C5E}"/>
          </ac:spMkLst>
        </pc:spChg>
        <pc:spChg chg="replST">
          <ac:chgData name="Ronny Georgi" userId="516b13485727eb9a" providerId="LiveId" clId="{669F18A1-3183-4623-B098-BEC40FDB9FF5}" dt="2022-02-13T20:24:37.124" v="909"/>
          <ac:spMkLst>
            <pc:docMk/>
            <pc:sldMk cId="2588455400" sldId="301"/>
            <ac:spMk id="61" creationId="{73EF1291-2340-497E-AF81-CFC29B9A8C66}"/>
          </ac:spMkLst>
        </pc:spChg>
        <pc:spChg chg="replST">
          <ac:chgData name="Ronny Georgi" userId="516b13485727eb9a" providerId="LiveId" clId="{669F18A1-3183-4623-B098-BEC40FDB9FF5}" dt="2022-02-13T20:24:37.130" v="911"/>
          <ac:spMkLst>
            <pc:docMk/>
            <pc:sldMk cId="2588455400" sldId="301"/>
            <ac:spMk id="62" creationId="{F3F9077A-1288-43FD-9D33-B4105679CEED}"/>
          </ac:spMkLst>
        </pc:spChg>
        <pc:spChg chg="ord replST">
          <ac:chgData name="Ronny Georgi" userId="516b13485727eb9a" providerId="LiveId" clId="{669F18A1-3183-4623-B098-BEC40FDB9FF5}" dt="2022-02-13T20:24:37.179" v="930"/>
          <ac:spMkLst>
            <pc:docMk/>
            <pc:sldMk cId="2588455400" sldId="301"/>
            <ac:spMk id="63" creationId="{61684392-666A-4D85-90E0-7AB8DE7839F0}"/>
          </ac:spMkLst>
        </pc:spChg>
        <pc:spChg chg="replST">
          <ac:chgData name="Ronny Georgi" userId="516b13485727eb9a" providerId="LiveId" clId="{669F18A1-3183-4623-B098-BEC40FDB9FF5}" dt="2022-02-13T20:24:37.135" v="915"/>
          <ac:spMkLst>
            <pc:docMk/>
            <pc:sldMk cId="2588455400" sldId="301"/>
            <ac:spMk id="64" creationId="{B76F418C-03BA-4279-A28C-3EEEBD81135B}"/>
          </ac:spMkLst>
        </pc:spChg>
        <pc:spChg chg="replST">
          <ac:chgData name="Ronny Georgi" userId="516b13485727eb9a" providerId="LiveId" clId="{669F18A1-3183-4623-B098-BEC40FDB9FF5}" dt="2022-02-13T20:24:37.143" v="918"/>
          <ac:spMkLst>
            <pc:docMk/>
            <pc:sldMk cId="2588455400" sldId="301"/>
            <ac:spMk id="65" creationId="{DDDDDF6A-E8AC-4FA0-8F42-E4B1CCB956AF}"/>
          </ac:spMkLst>
        </pc:spChg>
        <pc:spChg chg="replST">
          <ac:chgData name="Ronny Georgi" userId="516b13485727eb9a" providerId="LiveId" clId="{669F18A1-3183-4623-B098-BEC40FDB9FF5}" dt="2022-02-13T20:24:37.152" v="920"/>
          <ac:spMkLst>
            <pc:docMk/>
            <pc:sldMk cId="2588455400" sldId="301"/>
            <ac:spMk id="66" creationId="{D55F1766-4805-4D1B-A0D1-A387EC40F030}"/>
          </ac:spMkLst>
        </pc:spChg>
        <pc:spChg chg="replST">
          <ac:chgData name="Ronny Georgi" userId="516b13485727eb9a" providerId="LiveId" clId="{669F18A1-3183-4623-B098-BEC40FDB9FF5}" dt="2022-02-13T20:24:37.158" v="923"/>
          <ac:spMkLst>
            <pc:docMk/>
            <pc:sldMk cId="2588455400" sldId="301"/>
            <ac:spMk id="67" creationId="{779F30D8-174F-430C-A952-F40A940F426E}"/>
          </ac:spMkLst>
        </pc:spChg>
        <pc:spChg chg="replST">
          <ac:chgData name="Ronny Georgi" userId="516b13485727eb9a" providerId="LiveId" clId="{669F18A1-3183-4623-B098-BEC40FDB9FF5}" dt="2022-02-13T20:24:37.171" v="926"/>
          <ac:spMkLst>
            <pc:docMk/>
            <pc:sldMk cId="2588455400" sldId="301"/>
            <ac:spMk id="68" creationId="{E50AA8DA-C413-4238-8813-2E5A6D418441}"/>
          </ac:spMkLst>
        </pc:spChg>
        <pc:spChg chg="replST">
          <ac:chgData name="Ronny Georgi" userId="516b13485727eb9a" providerId="LiveId" clId="{669F18A1-3183-4623-B098-BEC40FDB9FF5}" dt="2022-02-13T20:24:37.176" v="928"/>
          <ac:spMkLst>
            <pc:docMk/>
            <pc:sldMk cId="2588455400" sldId="301"/>
            <ac:spMk id="69" creationId="{9595F694-5199-4D73-8DD8-665C67E12861}"/>
          </ac:spMkLst>
        </pc:spChg>
      </pc:sldChg>
      <pc:sldChg chg="addSp delSp modSp mod">
        <pc:chgData name="Ronny Georgi" userId="516b13485727eb9a" providerId="LiveId" clId="{669F18A1-3183-4623-B098-BEC40FDB9FF5}" dt="2022-02-13T20:24:37.294" v="959"/>
        <pc:sldMkLst>
          <pc:docMk/>
          <pc:sldMk cId="858770835" sldId="302"/>
        </pc:sldMkLst>
        <pc:spChg chg="add mod">
          <ac:chgData name="Ronny Georgi" userId="516b13485727eb9a" providerId="LiveId" clId="{669F18A1-3183-4623-B098-BEC40FDB9FF5}" dt="2022-02-13T20:16:52.334" v="77" actId="478"/>
          <ac:spMkLst>
            <pc:docMk/>
            <pc:sldMk cId="858770835" sldId="302"/>
            <ac:spMk id="3" creationId="{4AB95C0A-A028-4632-B32C-D628861E8CF8}"/>
          </ac:spMkLst>
        </pc:spChg>
        <pc:spChg chg="del mod ord replST">
          <ac:chgData name="Ronny Georgi" userId="516b13485727eb9a" providerId="LiveId" clId="{669F18A1-3183-4623-B098-BEC40FDB9FF5}" dt="2022-02-13T20:17:13.495" v="488" actId="478"/>
          <ac:spMkLst>
            <pc:docMk/>
            <pc:sldMk cId="858770835" sldId="302"/>
            <ac:spMk id="4" creationId="{5C4E05CF-D903-48AF-8B8E-87E02FC63AFC}"/>
          </ac:spMkLst>
        </pc:spChg>
        <pc:spChg chg="replST">
          <ac:chgData name="Ronny Georgi" userId="516b13485727eb9a" providerId="LiveId" clId="{669F18A1-3183-4623-B098-BEC40FDB9FF5}" dt="2022-02-13T20:16:52.839" v="189"/>
          <ac:spMkLst>
            <pc:docMk/>
            <pc:sldMk cId="858770835" sldId="302"/>
            <ac:spMk id="5" creationId="{320AE4ED-E540-4674-A923-B0F204F33E9A}"/>
          </ac:spMkLst>
        </pc:spChg>
        <pc:spChg chg="replST">
          <ac:chgData name="Ronny Georgi" userId="516b13485727eb9a" providerId="LiveId" clId="{669F18A1-3183-4623-B098-BEC40FDB9FF5}" dt="2022-02-13T20:16:52.857" v="192"/>
          <ac:spMkLst>
            <pc:docMk/>
            <pc:sldMk cId="858770835" sldId="302"/>
            <ac:spMk id="6" creationId="{7F593D13-2903-423E-871A-A857426C2EE6}"/>
          </ac:spMkLst>
        </pc:spChg>
        <pc:spChg chg="replST">
          <ac:chgData name="Ronny Georgi" userId="516b13485727eb9a" providerId="LiveId" clId="{669F18A1-3183-4623-B098-BEC40FDB9FF5}" dt="2022-02-13T20:16:52.864" v="194"/>
          <ac:spMkLst>
            <pc:docMk/>
            <pc:sldMk cId="858770835" sldId="302"/>
            <ac:spMk id="7" creationId="{3E193B0B-1AB0-4C2D-AEDE-2FBF6C4B40FB}"/>
          </ac:spMkLst>
        </pc:spChg>
        <pc:spChg chg="replST">
          <ac:chgData name="Ronny Georgi" userId="516b13485727eb9a" providerId="LiveId" clId="{669F18A1-3183-4623-B098-BEC40FDB9FF5}" dt="2022-02-13T20:16:52.867" v="197"/>
          <ac:spMkLst>
            <pc:docMk/>
            <pc:sldMk cId="858770835" sldId="302"/>
            <ac:spMk id="8" creationId="{947295E7-474D-4E1D-9FE9-EC07175FD107}"/>
          </ac:spMkLst>
        </pc:spChg>
        <pc:spChg chg="replST">
          <ac:chgData name="Ronny Georgi" userId="516b13485727eb9a" providerId="LiveId" clId="{669F18A1-3183-4623-B098-BEC40FDB9FF5}" dt="2022-02-13T20:16:52.877" v="200"/>
          <ac:spMkLst>
            <pc:docMk/>
            <pc:sldMk cId="858770835" sldId="302"/>
            <ac:spMk id="9" creationId="{A6F52FBE-DB75-42B6-9E8D-AAD3994C5EDA}"/>
          </ac:spMkLst>
        </pc:spChg>
        <pc:spChg chg="replST">
          <ac:chgData name="Ronny Georgi" userId="516b13485727eb9a" providerId="LiveId" clId="{669F18A1-3183-4623-B098-BEC40FDB9FF5}" dt="2022-02-13T20:16:52.885" v="202"/>
          <ac:spMkLst>
            <pc:docMk/>
            <pc:sldMk cId="858770835" sldId="302"/>
            <ac:spMk id="10" creationId="{358B7377-B7CE-464D-B0F1-8107C01B75E4}"/>
          </ac:spMkLst>
        </pc:spChg>
        <pc:spChg chg="del ord replST">
          <ac:chgData name="Ronny Georgi" userId="516b13485727eb9a" providerId="LiveId" clId="{669F18A1-3183-4623-B098-BEC40FDB9FF5}" dt="2022-02-13T20:17:13.498" v="489" actId="478"/>
          <ac:spMkLst>
            <pc:docMk/>
            <pc:sldMk cId="858770835" sldId="302"/>
            <ac:spMk id="11" creationId="{44C3B196-E19F-45B2-B97F-5A79EF147A72}"/>
          </ac:spMkLst>
        </pc:spChg>
        <pc:spChg chg="replST">
          <ac:chgData name="Ronny Georgi" userId="516b13485727eb9a" providerId="LiveId" clId="{669F18A1-3183-4623-B098-BEC40FDB9FF5}" dt="2022-02-13T20:16:52.891" v="206"/>
          <ac:spMkLst>
            <pc:docMk/>
            <pc:sldMk cId="858770835" sldId="302"/>
            <ac:spMk id="12" creationId="{BAC5CFCD-D048-444B-9D0A-0197073FACBC}"/>
          </ac:spMkLst>
        </pc:spChg>
        <pc:spChg chg="replST">
          <ac:chgData name="Ronny Georgi" userId="516b13485727eb9a" providerId="LiveId" clId="{669F18A1-3183-4623-B098-BEC40FDB9FF5}" dt="2022-02-13T20:16:52.907" v="209"/>
          <ac:spMkLst>
            <pc:docMk/>
            <pc:sldMk cId="858770835" sldId="302"/>
            <ac:spMk id="13" creationId="{89B78C89-AC3D-48CC-91AE-5691BFE7FB1B}"/>
          </ac:spMkLst>
        </pc:spChg>
        <pc:spChg chg="replST">
          <ac:chgData name="Ronny Georgi" userId="516b13485727eb9a" providerId="LiveId" clId="{669F18A1-3183-4623-B098-BEC40FDB9FF5}" dt="2022-02-13T20:16:52.917" v="211"/>
          <ac:spMkLst>
            <pc:docMk/>
            <pc:sldMk cId="858770835" sldId="302"/>
            <ac:spMk id="14" creationId="{90D44494-2CFB-4DD6-9AC7-82F6E6B4654A}"/>
          </ac:spMkLst>
        </pc:spChg>
        <pc:spChg chg="replST">
          <ac:chgData name="Ronny Georgi" userId="516b13485727eb9a" providerId="LiveId" clId="{669F18A1-3183-4623-B098-BEC40FDB9FF5}" dt="2022-02-13T20:16:52.922" v="214"/>
          <ac:spMkLst>
            <pc:docMk/>
            <pc:sldMk cId="858770835" sldId="302"/>
            <ac:spMk id="15" creationId="{7EFF33C0-5525-4BE9-9B81-E21FFD212C97}"/>
          </ac:spMkLst>
        </pc:spChg>
        <pc:spChg chg="replST">
          <ac:chgData name="Ronny Georgi" userId="516b13485727eb9a" providerId="LiveId" clId="{669F18A1-3183-4623-B098-BEC40FDB9FF5}" dt="2022-02-13T20:16:52.946" v="216"/>
          <ac:spMkLst>
            <pc:docMk/>
            <pc:sldMk cId="858770835" sldId="302"/>
            <ac:spMk id="16" creationId="{EE6216A0-6434-4136-B98A-DBD81D7485DE}"/>
          </ac:spMkLst>
        </pc:spChg>
        <pc:spChg chg="replST">
          <ac:chgData name="Ronny Georgi" userId="516b13485727eb9a" providerId="LiveId" clId="{669F18A1-3183-4623-B098-BEC40FDB9FF5}" dt="2022-02-13T20:16:52.957" v="218"/>
          <ac:spMkLst>
            <pc:docMk/>
            <pc:sldMk cId="858770835" sldId="302"/>
            <ac:spMk id="17" creationId="{8084EBAB-0B2E-4BB9-B34E-7C1FDA77964C}"/>
          </ac:spMkLst>
        </pc:spChg>
        <pc:spChg chg="replST">
          <ac:chgData name="Ronny Georgi" userId="516b13485727eb9a" providerId="LiveId" clId="{669F18A1-3183-4623-B098-BEC40FDB9FF5}" dt="2022-02-13T20:16:52.970" v="221"/>
          <ac:spMkLst>
            <pc:docMk/>
            <pc:sldMk cId="858770835" sldId="302"/>
            <ac:spMk id="18" creationId="{7A68F6D8-364D-4565-9566-EC77CD4D32D6}"/>
          </ac:spMkLst>
        </pc:spChg>
        <pc:spChg chg="replST">
          <ac:chgData name="Ronny Georgi" userId="516b13485727eb9a" providerId="LiveId" clId="{669F18A1-3183-4623-B098-BEC40FDB9FF5}" dt="2022-02-13T20:16:52.983" v="223"/>
          <ac:spMkLst>
            <pc:docMk/>
            <pc:sldMk cId="858770835" sldId="302"/>
            <ac:spMk id="19" creationId="{E9B59441-A2C7-4C7E-86B7-7E79AE761621}"/>
          </ac:spMkLst>
        </pc:spChg>
        <pc:spChg chg="replST">
          <ac:chgData name="Ronny Georgi" userId="516b13485727eb9a" providerId="LiveId" clId="{669F18A1-3183-4623-B098-BEC40FDB9FF5}" dt="2022-02-13T20:16:52.986" v="225"/>
          <ac:spMkLst>
            <pc:docMk/>
            <pc:sldMk cId="858770835" sldId="302"/>
            <ac:spMk id="20" creationId="{543A055B-3458-4263-A919-202B0D9118B8}"/>
          </ac:spMkLst>
        </pc:spChg>
        <pc:spChg chg="replST">
          <ac:chgData name="Ronny Georgi" userId="516b13485727eb9a" providerId="LiveId" clId="{669F18A1-3183-4623-B098-BEC40FDB9FF5}" dt="2022-02-13T20:16:52.989" v="228"/>
          <ac:spMkLst>
            <pc:docMk/>
            <pc:sldMk cId="858770835" sldId="302"/>
            <ac:spMk id="21" creationId="{649CA124-89CD-4226-953D-091E9CB86B2F}"/>
          </ac:spMkLst>
        </pc:spChg>
        <pc:spChg chg="replST">
          <ac:chgData name="Ronny Georgi" userId="516b13485727eb9a" providerId="LiveId" clId="{669F18A1-3183-4623-B098-BEC40FDB9FF5}" dt="2022-02-13T20:16:53.001" v="230"/>
          <ac:spMkLst>
            <pc:docMk/>
            <pc:sldMk cId="858770835" sldId="302"/>
            <ac:spMk id="22" creationId="{6695AC4D-E4A6-49DE-AB4B-FB415A106B08}"/>
          </ac:spMkLst>
        </pc:spChg>
        <pc:spChg chg="replST">
          <ac:chgData name="Ronny Georgi" userId="516b13485727eb9a" providerId="LiveId" clId="{669F18A1-3183-4623-B098-BEC40FDB9FF5}" dt="2022-02-13T20:16:53.004" v="232"/>
          <ac:spMkLst>
            <pc:docMk/>
            <pc:sldMk cId="858770835" sldId="302"/>
            <ac:spMk id="23" creationId="{027C0CCD-CFB2-40AA-8C7A-3020683CCEB1}"/>
          </ac:spMkLst>
        </pc:spChg>
        <pc:spChg chg="add mod">
          <ac:chgData name="Ronny Georgi" userId="516b13485727eb9a" providerId="LiveId" clId="{669F18A1-3183-4623-B098-BEC40FDB9FF5}" dt="2022-02-13T20:17:13.495" v="488" actId="478"/>
          <ac:spMkLst>
            <pc:docMk/>
            <pc:sldMk cId="858770835" sldId="302"/>
            <ac:spMk id="25" creationId="{830EBBC9-E0DC-4999-B09E-44FF3FF05020}"/>
          </ac:spMkLst>
        </pc:spChg>
        <pc:spChg chg="del mod ord replST">
          <ac:chgData name="Ronny Georgi" userId="516b13485727eb9a" providerId="LiveId" clId="{669F18A1-3183-4623-B098-BEC40FDB9FF5}" dt="2022-02-13T20:24:37.004" v="871" actId="478"/>
          <ac:spMkLst>
            <pc:docMk/>
            <pc:sldMk cId="858770835" sldId="302"/>
            <ac:spMk id="26" creationId="{B975273B-CB75-4693-BE84-E45CBB53D3F6}"/>
          </ac:spMkLst>
        </pc:spChg>
        <pc:spChg chg="replST">
          <ac:chgData name="Ronny Georgi" userId="516b13485727eb9a" providerId="LiveId" clId="{669F18A1-3183-4623-B098-BEC40FDB9FF5}" dt="2022-02-13T20:17:13.753" v="552"/>
          <ac:spMkLst>
            <pc:docMk/>
            <pc:sldMk cId="858770835" sldId="302"/>
            <ac:spMk id="27" creationId="{CDFDAC54-71AB-463D-8BBF-EC9C3AC2E845}"/>
          </ac:spMkLst>
        </pc:spChg>
        <pc:spChg chg="replST">
          <ac:chgData name="Ronny Georgi" userId="516b13485727eb9a" providerId="LiveId" clId="{669F18A1-3183-4623-B098-BEC40FDB9FF5}" dt="2022-02-13T20:17:13.762" v="555"/>
          <ac:spMkLst>
            <pc:docMk/>
            <pc:sldMk cId="858770835" sldId="302"/>
            <ac:spMk id="28" creationId="{BD7C0A49-CA80-4385-89CC-D3B55F9582D1}"/>
          </ac:spMkLst>
        </pc:spChg>
        <pc:spChg chg="replST">
          <ac:chgData name="Ronny Georgi" userId="516b13485727eb9a" providerId="LiveId" clId="{669F18A1-3183-4623-B098-BEC40FDB9FF5}" dt="2022-02-13T20:17:13.767" v="557"/>
          <ac:spMkLst>
            <pc:docMk/>
            <pc:sldMk cId="858770835" sldId="302"/>
            <ac:spMk id="29" creationId="{A7D032D0-9C25-41AD-853C-62D62A78BC4D}"/>
          </ac:spMkLst>
        </pc:spChg>
        <pc:spChg chg="replST">
          <ac:chgData name="Ronny Georgi" userId="516b13485727eb9a" providerId="LiveId" clId="{669F18A1-3183-4623-B098-BEC40FDB9FF5}" dt="2022-02-13T20:17:13.770" v="560"/>
          <ac:spMkLst>
            <pc:docMk/>
            <pc:sldMk cId="858770835" sldId="302"/>
            <ac:spMk id="30" creationId="{F3E2D196-AEE3-4131-B376-A9D3895E4D9F}"/>
          </ac:spMkLst>
        </pc:spChg>
        <pc:spChg chg="replST">
          <ac:chgData name="Ronny Georgi" userId="516b13485727eb9a" providerId="LiveId" clId="{669F18A1-3183-4623-B098-BEC40FDB9FF5}" dt="2022-02-13T20:17:13.777" v="563"/>
          <ac:spMkLst>
            <pc:docMk/>
            <pc:sldMk cId="858770835" sldId="302"/>
            <ac:spMk id="31" creationId="{E6275E70-4B5B-44DA-BBDC-B383E3ACC4DE}"/>
          </ac:spMkLst>
        </pc:spChg>
        <pc:spChg chg="replST">
          <ac:chgData name="Ronny Georgi" userId="516b13485727eb9a" providerId="LiveId" clId="{669F18A1-3183-4623-B098-BEC40FDB9FF5}" dt="2022-02-13T20:17:13.780" v="565"/>
          <ac:spMkLst>
            <pc:docMk/>
            <pc:sldMk cId="858770835" sldId="302"/>
            <ac:spMk id="32" creationId="{031BECF0-21D3-4207-976F-C3D1A0CC2289}"/>
          </ac:spMkLst>
        </pc:spChg>
        <pc:spChg chg="del ord replST">
          <ac:chgData name="Ronny Georgi" userId="516b13485727eb9a" providerId="LiveId" clId="{669F18A1-3183-4623-B098-BEC40FDB9FF5}" dt="2022-02-13T20:24:37.007" v="872" actId="478"/>
          <ac:spMkLst>
            <pc:docMk/>
            <pc:sldMk cId="858770835" sldId="302"/>
            <ac:spMk id="33" creationId="{38D21756-29CE-4156-B07C-D14F693CEC94}"/>
          </ac:spMkLst>
        </pc:spChg>
        <pc:spChg chg="replST">
          <ac:chgData name="Ronny Georgi" userId="516b13485727eb9a" providerId="LiveId" clId="{669F18A1-3183-4623-B098-BEC40FDB9FF5}" dt="2022-02-13T20:17:13.789" v="569"/>
          <ac:spMkLst>
            <pc:docMk/>
            <pc:sldMk cId="858770835" sldId="302"/>
            <ac:spMk id="34" creationId="{692A5DBA-84E4-4128-BD2F-708085DD1CD3}"/>
          </ac:spMkLst>
        </pc:spChg>
        <pc:spChg chg="del">
          <ac:chgData name="Ronny Georgi" userId="516b13485727eb9a" providerId="LiveId" clId="{669F18A1-3183-4623-B098-BEC40FDB9FF5}" dt="2022-02-13T20:16:52.334" v="77" actId="478"/>
          <ac:spMkLst>
            <pc:docMk/>
            <pc:sldMk cId="858770835" sldId="302"/>
            <ac:spMk id="35" creationId="{FE97009E-038B-446A-8C03-E07F248E9740}"/>
          </ac:spMkLst>
        </pc:spChg>
        <pc:spChg chg="del">
          <ac:chgData name="Ronny Georgi" userId="516b13485727eb9a" providerId="LiveId" clId="{669F18A1-3183-4623-B098-BEC40FDB9FF5}" dt="2022-02-13T20:16:52.337" v="78" actId="478"/>
          <ac:spMkLst>
            <pc:docMk/>
            <pc:sldMk cId="858770835" sldId="302"/>
            <ac:spMk id="42" creationId="{99A12D97-BCE4-48F6-BA01-24203274DD3A}"/>
          </ac:spMkLst>
        </pc:spChg>
        <pc:spChg chg="replST">
          <ac:chgData name="Ronny Georgi" userId="516b13485727eb9a" providerId="LiveId" clId="{669F18A1-3183-4623-B098-BEC40FDB9FF5}" dt="2022-02-13T20:17:13.809" v="572"/>
          <ac:spMkLst>
            <pc:docMk/>
            <pc:sldMk cId="858770835" sldId="302"/>
            <ac:spMk id="55" creationId="{8094ED28-9361-4B00-A4AA-09CA093BF3F6}"/>
          </ac:spMkLst>
        </pc:spChg>
        <pc:spChg chg="replST">
          <ac:chgData name="Ronny Georgi" userId="516b13485727eb9a" providerId="LiveId" clId="{669F18A1-3183-4623-B098-BEC40FDB9FF5}" dt="2022-02-13T20:17:13.816" v="574"/>
          <ac:spMkLst>
            <pc:docMk/>
            <pc:sldMk cId="858770835" sldId="302"/>
            <ac:spMk id="56" creationId="{B0FFE5F0-2F4D-4F4F-BAD6-7FB8164A1D03}"/>
          </ac:spMkLst>
        </pc:spChg>
        <pc:spChg chg="add mod">
          <ac:chgData name="Ronny Georgi" userId="516b13485727eb9a" providerId="LiveId" clId="{669F18A1-3183-4623-B098-BEC40FDB9FF5}" dt="2022-02-13T20:24:37.004" v="871" actId="478"/>
          <ac:spMkLst>
            <pc:docMk/>
            <pc:sldMk cId="858770835" sldId="302"/>
            <ac:spMk id="58" creationId="{4CF5CA72-5431-4092-9830-503C47347D02}"/>
          </ac:spMkLst>
        </pc:spChg>
        <pc:spChg chg="mod ord replST">
          <ac:chgData name="Ronny Georgi" userId="516b13485727eb9a" providerId="LiveId" clId="{669F18A1-3183-4623-B098-BEC40FDB9FF5}" dt="2022-02-13T20:24:37.291" v="958"/>
          <ac:spMkLst>
            <pc:docMk/>
            <pc:sldMk cId="858770835" sldId="302"/>
            <ac:spMk id="59" creationId="{C8F7208F-8E2C-48C5-952F-188074E61AF4}"/>
          </ac:spMkLst>
        </pc:spChg>
        <pc:spChg chg="replST">
          <ac:chgData name="Ronny Georgi" userId="516b13485727eb9a" providerId="LiveId" clId="{669F18A1-3183-4623-B098-BEC40FDB9FF5}" dt="2022-02-13T20:24:37.221" v="935"/>
          <ac:spMkLst>
            <pc:docMk/>
            <pc:sldMk cId="858770835" sldId="302"/>
            <ac:spMk id="60" creationId="{B27053C2-B1EB-4634-AAFC-673366059FE6}"/>
          </ac:spMkLst>
        </pc:spChg>
        <pc:spChg chg="replST">
          <ac:chgData name="Ronny Georgi" userId="516b13485727eb9a" providerId="LiveId" clId="{669F18A1-3183-4623-B098-BEC40FDB9FF5}" dt="2022-02-13T20:24:37.236" v="938"/>
          <ac:spMkLst>
            <pc:docMk/>
            <pc:sldMk cId="858770835" sldId="302"/>
            <ac:spMk id="61" creationId="{E48613EE-3919-403C-A86F-74A0553A5D0C}"/>
          </ac:spMkLst>
        </pc:spChg>
        <pc:spChg chg="replST">
          <ac:chgData name="Ronny Georgi" userId="516b13485727eb9a" providerId="LiveId" clId="{669F18A1-3183-4623-B098-BEC40FDB9FF5}" dt="2022-02-13T20:24:37.244" v="940"/>
          <ac:spMkLst>
            <pc:docMk/>
            <pc:sldMk cId="858770835" sldId="302"/>
            <ac:spMk id="62" creationId="{2B9150A2-D4F9-4B9E-A325-0C97074154A3}"/>
          </ac:spMkLst>
        </pc:spChg>
        <pc:spChg chg="replST">
          <ac:chgData name="Ronny Georgi" userId="516b13485727eb9a" providerId="LiveId" clId="{669F18A1-3183-4623-B098-BEC40FDB9FF5}" dt="2022-02-13T20:24:37.246" v="943"/>
          <ac:spMkLst>
            <pc:docMk/>
            <pc:sldMk cId="858770835" sldId="302"/>
            <ac:spMk id="63" creationId="{E37F2EE2-93FB-4421-9D48-88F78CF8B865}"/>
          </ac:spMkLst>
        </pc:spChg>
        <pc:spChg chg="replST">
          <ac:chgData name="Ronny Georgi" userId="516b13485727eb9a" providerId="LiveId" clId="{669F18A1-3183-4623-B098-BEC40FDB9FF5}" dt="2022-02-13T20:24:37.258" v="946"/>
          <ac:spMkLst>
            <pc:docMk/>
            <pc:sldMk cId="858770835" sldId="302"/>
            <ac:spMk id="64" creationId="{D1601B64-2096-4731-8623-E5B0714C61DC}"/>
          </ac:spMkLst>
        </pc:spChg>
        <pc:spChg chg="replST">
          <ac:chgData name="Ronny Georgi" userId="516b13485727eb9a" providerId="LiveId" clId="{669F18A1-3183-4623-B098-BEC40FDB9FF5}" dt="2022-02-13T20:24:37.268" v="948"/>
          <ac:spMkLst>
            <pc:docMk/>
            <pc:sldMk cId="858770835" sldId="302"/>
            <ac:spMk id="65" creationId="{B54B50EA-35E5-4755-A10F-A117D802A5DC}"/>
          </ac:spMkLst>
        </pc:spChg>
        <pc:spChg chg="ord replST">
          <ac:chgData name="Ronny Georgi" userId="516b13485727eb9a" providerId="LiveId" clId="{669F18A1-3183-4623-B098-BEC40FDB9FF5}" dt="2022-02-13T20:24:37.294" v="959"/>
          <ac:spMkLst>
            <pc:docMk/>
            <pc:sldMk cId="858770835" sldId="302"/>
            <ac:spMk id="66" creationId="{1AA10B75-F04E-4800-83EA-C3F1F6A365AA}"/>
          </ac:spMkLst>
        </pc:spChg>
        <pc:spChg chg="replST">
          <ac:chgData name="Ronny Georgi" userId="516b13485727eb9a" providerId="LiveId" clId="{669F18A1-3183-4623-B098-BEC40FDB9FF5}" dt="2022-02-13T20:24:37.277" v="952"/>
          <ac:spMkLst>
            <pc:docMk/>
            <pc:sldMk cId="858770835" sldId="302"/>
            <ac:spMk id="67" creationId="{C1E0938F-0772-4393-9618-B348CC059520}"/>
          </ac:spMkLst>
        </pc:spChg>
        <pc:spChg chg="replST">
          <ac:chgData name="Ronny Georgi" userId="516b13485727eb9a" providerId="LiveId" clId="{669F18A1-3183-4623-B098-BEC40FDB9FF5}" dt="2022-02-13T20:24:37.286" v="955"/>
          <ac:spMkLst>
            <pc:docMk/>
            <pc:sldMk cId="858770835" sldId="302"/>
            <ac:spMk id="68" creationId="{5BA9E2B7-021C-49B4-A2A0-17C2FFB8DD7C}"/>
          </ac:spMkLst>
        </pc:spChg>
        <pc:spChg chg="replST">
          <ac:chgData name="Ronny Georgi" userId="516b13485727eb9a" providerId="LiveId" clId="{669F18A1-3183-4623-B098-BEC40FDB9FF5}" dt="2022-02-13T20:24:37.291" v="957"/>
          <ac:spMkLst>
            <pc:docMk/>
            <pc:sldMk cId="858770835" sldId="302"/>
            <ac:spMk id="69" creationId="{44472324-E105-4928-AA55-D4B8813C1FA3}"/>
          </ac:spMkLst>
        </pc:spChg>
      </pc:sldChg>
      <pc:sldChg chg="addSp delSp modSp mod">
        <pc:chgData name="Ronny Georgi" userId="516b13485727eb9a" providerId="LiveId" clId="{669F18A1-3183-4623-B098-BEC40FDB9FF5}" dt="2022-02-13T20:24:37.399" v="988"/>
        <pc:sldMkLst>
          <pc:docMk/>
          <pc:sldMk cId="2105151646" sldId="303"/>
        </pc:sldMkLst>
        <pc:spChg chg="add mod">
          <ac:chgData name="Ronny Georgi" userId="516b13485727eb9a" providerId="LiveId" clId="{669F18A1-3183-4623-B098-BEC40FDB9FF5}" dt="2022-02-13T20:16:52.347" v="79" actId="478"/>
          <ac:spMkLst>
            <pc:docMk/>
            <pc:sldMk cId="2105151646" sldId="303"/>
            <ac:spMk id="3" creationId="{EFE6CA0B-596D-49A7-B418-645AD99E2215}"/>
          </ac:spMkLst>
        </pc:spChg>
        <pc:spChg chg="del mod ord replST">
          <ac:chgData name="Ronny Georgi" userId="516b13485727eb9a" providerId="LiveId" clId="{669F18A1-3183-4623-B098-BEC40FDB9FF5}" dt="2022-02-13T20:17:13.509" v="490" actId="478"/>
          <ac:spMkLst>
            <pc:docMk/>
            <pc:sldMk cId="2105151646" sldId="303"/>
            <ac:spMk id="4" creationId="{93C00EEF-13CF-4D25-B5B3-CD067E4D621E}"/>
          </ac:spMkLst>
        </pc:spChg>
        <pc:spChg chg="replST">
          <ac:chgData name="Ronny Georgi" userId="516b13485727eb9a" providerId="LiveId" clId="{669F18A1-3183-4623-B098-BEC40FDB9FF5}" dt="2022-02-13T20:16:53.046" v="239"/>
          <ac:spMkLst>
            <pc:docMk/>
            <pc:sldMk cId="2105151646" sldId="303"/>
            <ac:spMk id="5" creationId="{B1D05C53-6332-4C38-9A2C-D6AF288ADFDF}"/>
          </ac:spMkLst>
        </pc:spChg>
        <pc:spChg chg="replST">
          <ac:chgData name="Ronny Georgi" userId="516b13485727eb9a" providerId="LiveId" clId="{669F18A1-3183-4623-B098-BEC40FDB9FF5}" dt="2022-02-13T20:16:53.053" v="242"/>
          <ac:spMkLst>
            <pc:docMk/>
            <pc:sldMk cId="2105151646" sldId="303"/>
            <ac:spMk id="6" creationId="{5347359D-0AA4-4962-8D43-BE235A88371A}"/>
          </ac:spMkLst>
        </pc:spChg>
        <pc:spChg chg="replST">
          <ac:chgData name="Ronny Georgi" userId="516b13485727eb9a" providerId="LiveId" clId="{669F18A1-3183-4623-B098-BEC40FDB9FF5}" dt="2022-02-13T20:16:53.060" v="244"/>
          <ac:spMkLst>
            <pc:docMk/>
            <pc:sldMk cId="2105151646" sldId="303"/>
            <ac:spMk id="7" creationId="{34DF7E3B-509B-4CD5-A29E-D23D404D079F}"/>
          </ac:spMkLst>
        </pc:spChg>
        <pc:spChg chg="replST">
          <ac:chgData name="Ronny Georgi" userId="516b13485727eb9a" providerId="LiveId" clId="{669F18A1-3183-4623-B098-BEC40FDB9FF5}" dt="2022-02-13T20:16:53.068" v="247"/>
          <ac:spMkLst>
            <pc:docMk/>
            <pc:sldMk cId="2105151646" sldId="303"/>
            <ac:spMk id="8" creationId="{4592EC8A-65A5-43FF-AE6F-0EB40E19D785}"/>
          </ac:spMkLst>
        </pc:spChg>
        <pc:spChg chg="replST">
          <ac:chgData name="Ronny Georgi" userId="516b13485727eb9a" providerId="LiveId" clId="{669F18A1-3183-4623-B098-BEC40FDB9FF5}" dt="2022-02-13T20:16:53.092" v="250"/>
          <ac:spMkLst>
            <pc:docMk/>
            <pc:sldMk cId="2105151646" sldId="303"/>
            <ac:spMk id="9" creationId="{E0AD7840-6BBA-4348-AE60-1BA906023DD1}"/>
          </ac:spMkLst>
        </pc:spChg>
        <pc:spChg chg="replST">
          <ac:chgData name="Ronny Georgi" userId="516b13485727eb9a" providerId="LiveId" clId="{669F18A1-3183-4623-B098-BEC40FDB9FF5}" dt="2022-02-13T20:16:53.100" v="252"/>
          <ac:spMkLst>
            <pc:docMk/>
            <pc:sldMk cId="2105151646" sldId="303"/>
            <ac:spMk id="10" creationId="{7B927F47-8B92-4FA4-8401-DF7B95ED03EF}"/>
          </ac:spMkLst>
        </pc:spChg>
        <pc:spChg chg="replST">
          <ac:chgData name="Ronny Georgi" userId="516b13485727eb9a" providerId="LiveId" clId="{669F18A1-3183-4623-B098-BEC40FDB9FF5}" dt="2022-02-13T20:16:53.104" v="255"/>
          <ac:spMkLst>
            <pc:docMk/>
            <pc:sldMk cId="2105151646" sldId="303"/>
            <ac:spMk id="11" creationId="{BDE8F2C9-E261-422A-B0DF-B6046A8AD197}"/>
          </ac:spMkLst>
        </pc:spChg>
        <pc:spChg chg="replST">
          <ac:chgData name="Ronny Georgi" userId="516b13485727eb9a" providerId="LiveId" clId="{669F18A1-3183-4623-B098-BEC40FDB9FF5}" dt="2022-02-13T20:16:53.115" v="258"/>
          <ac:spMkLst>
            <pc:docMk/>
            <pc:sldMk cId="2105151646" sldId="303"/>
            <ac:spMk id="12" creationId="{27A82385-81A3-4C5F-A2BA-9FD6CF34F05D}"/>
          </ac:spMkLst>
        </pc:spChg>
        <pc:spChg chg="replST">
          <ac:chgData name="Ronny Georgi" userId="516b13485727eb9a" providerId="LiveId" clId="{669F18A1-3183-4623-B098-BEC40FDB9FF5}" dt="2022-02-13T20:16:53.122" v="260"/>
          <ac:spMkLst>
            <pc:docMk/>
            <pc:sldMk cId="2105151646" sldId="303"/>
            <ac:spMk id="13" creationId="{F4F4466A-3CBE-40B0-A1C5-7962AD35C709}"/>
          </ac:spMkLst>
        </pc:spChg>
        <pc:spChg chg="del ord replST">
          <ac:chgData name="Ronny Georgi" userId="516b13485727eb9a" providerId="LiveId" clId="{669F18A1-3183-4623-B098-BEC40FDB9FF5}" dt="2022-02-13T20:17:13.513" v="491" actId="478"/>
          <ac:spMkLst>
            <pc:docMk/>
            <pc:sldMk cId="2105151646" sldId="303"/>
            <ac:spMk id="14" creationId="{258DFBD7-321E-49FD-92F0-9D9CB0C308C3}"/>
          </ac:spMkLst>
        </pc:spChg>
        <pc:spChg chg="replST">
          <ac:chgData name="Ronny Georgi" userId="516b13485727eb9a" providerId="LiveId" clId="{669F18A1-3183-4623-B098-BEC40FDB9FF5}" dt="2022-02-13T20:16:53.133" v="264"/>
          <ac:spMkLst>
            <pc:docMk/>
            <pc:sldMk cId="2105151646" sldId="303"/>
            <ac:spMk id="15" creationId="{8031FFC7-5084-495A-A9CE-8AB50D3E966F}"/>
          </ac:spMkLst>
        </pc:spChg>
        <pc:spChg chg="replST">
          <ac:chgData name="Ronny Georgi" userId="516b13485727eb9a" providerId="LiveId" clId="{669F18A1-3183-4623-B098-BEC40FDB9FF5}" dt="2022-02-13T20:16:53.149" v="266"/>
          <ac:spMkLst>
            <pc:docMk/>
            <pc:sldMk cId="2105151646" sldId="303"/>
            <ac:spMk id="16" creationId="{8E16B7AA-6835-41FA-820F-AFDBCC97D917}"/>
          </ac:spMkLst>
        </pc:spChg>
        <pc:spChg chg="replST">
          <ac:chgData name="Ronny Georgi" userId="516b13485727eb9a" providerId="LiveId" clId="{669F18A1-3183-4623-B098-BEC40FDB9FF5}" dt="2022-02-13T20:16:53.155" v="268"/>
          <ac:spMkLst>
            <pc:docMk/>
            <pc:sldMk cId="2105151646" sldId="303"/>
            <ac:spMk id="17" creationId="{91F1DEAB-8A6A-4E02-BAE5-F1642781143C}"/>
          </ac:spMkLst>
        </pc:spChg>
        <pc:spChg chg="replST">
          <ac:chgData name="Ronny Georgi" userId="516b13485727eb9a" providerId="LiveId" clId="{669F18A1-3183-4623-B098-BEC40FDB9FF5}" dt="2022-02-13T20:16:53.160" v="271"/>
          <ac:spMkLst>
            <pc:docMk/>
            <pc:sldMk cId="2105151646" sldId="303"/>
            <ac:spMk id="18" creationId="{EF9ED296-B378-4CAF-8E28-5EC6A93A70A6}"/>
          </ac:spMkLst>
        </pc:spChg>
        <pc:spChg chg="replST">
          <ac:chgData name="Ronny Georgi" userId="516b13485727eb9a" providerId="LiveId" clId="{669F18A1-3183-4623-B098-BEC40FDB9FF5}" dt="2022-02-13T20:16:53.170" v="273"/>
          <ac:spMkLst>
            <pc:docMk/>
            <pc:sldMk cId="2105151646" sldId="303"/>
            <ac:spMk id="19" creationId="{625BFE56-2BC9-4DDF-8A55-0D757B873F83}"/>
          </ac:spMkLst>
        </pc:spChg>
        <pc:spChg chg="replST">
          <ac:chgData name="Ronny Georgi" userId="516b13485727eb9a" providerId="LiveId" clId="{669F18A1-3183-4623-B098-BEC40FDB9FF5}" dt="2022-02-13T20:16:53.173" v="275"/>
          <ac:spMkLst>
            <pc:docMk/>
            <pc:sldMk cId="2105151646" sldId="303"/>
            <ac:spMk id="20" creationId="{82010CA2-B046-4321-889F-513F92C6BDD0}"/>
          </ac:spMkLst>
        </pc:spChg>
        <pc:spChg chg="replST">
          <ac:chgData name="Ronny Georgi" userId="516b13485727eb9a" providerId="LiveId" clId="{669F18A1-3183-4623-B098-BEC40FDB9FF5}" dt="2022-02-13T20:16:53.177" v="278"/>
          <ac:spMkLst>
            <pc:docMk/>
            <pc:sldMk cId="2105151646" sldId="303"/>
            <ac:spMk id="21" creationId="{DAB416F8-264B-4E55-8819-DA786E2FB1D5}"/>
          </ac:spMkLst>
        </pc:spChg>
        <pc:spChg chg="replST">
          <ac:chgData name="Ronny Georgi" userId="516b13485727eb9a" providerId="LiveId" clId="{669F18A1-3183-4623-B098-BEC40FDB9FF5}" dt="2022-02-13T20:16:53.187" v="280"/>
          <ac:spMkLst>
            <pc:docMk/>
            <pc:sldMk cId="2105151646" sldId="303"/>
            <ac:spMk id="22" creationId="{827DD105-CB1A-482D-BFA4-330B1D525B1A}"/>
          </ac:spMkLst>
        </pc:spChg>
        <pc:spChg chg="replST">
          <ac:chgData name="Ronny Georgi" userId="516b13485727eb9a" providerId="LiveId" clId="{669F18A1-3183-4623-B098-BEC40FDB9FF5}" dt="2022-02-13T20:16:53.191" v="282"/>
          <ac:spMkLst>
            <pc:docMk/>
            <pc:sldMk cId="2105151646" sldId="303"/>
            <ac:spMk id="23" creationId="{A843FDD9-8259-4521-8584-B026A0DBCFB1}"/>
          </ac:spMkLst>
        </pc:spChg>
        <pc:spChg chg="add mod">
          <ac:chgData name="Ronny Georgi" userId="516b13485727eb9a" providerId="LiveId" clId="{669F18A1-3183-4623-B098-BEC40FDB9FF5}" dt="2022-02-13T20:17:13.509" v="490" actId="478"/>
          <ac:spMkLst>
            <pc:docMk/>
            <pc:sldMk cId="2105151646" sldId="303"/>
            <ac:spMk id="25" creationId="{FA218AEB-2DBD-4261-B3CC-F9B1A6265D64}"/>
          </ac:spMkLst>
        </pc:spChg>
        <pc:spChg chg="del mod ord replST">
          <ac:chgData name="Ronny Georgi" userId="516b13485727eb9a" providerId="LiveId" clId="{669F18A1-3183-4623-B098-BEC40FDB9FF5}" dt="2022-02-13T20:24:37.015" v="873" actId="478"/>
          <ac:spMkLst>
            <pc:docMk/>
            <pc:sldMk cId="2105151646" sldId="303"/>
            <ac:spMk id="26" creationId="{B6FA7862-43DC-4249-89B4-BFCDCE6266CC}"/>
          </ac:spMkLst>
        </pc:spChg>
        <pc:spChg chg="replST">
          <ac:chgData name="Ronny Georgi" userId="516b13485727eb9a" providerId="LiveId" clId="{669F18A1-3183-4623-B098-BEC40FDB9FF5}" dt="2022-02-13T20:17:13.843" v="581"/>
          <ac:spMkLst>
            <pc:docMk/>
            <pc:sldMk cId="2105151646" sldId="303"/>
            <ac:spMk id="27" creationId="{287DC4F8-3255-431D-82A4-535BE4A60615}"/>
          </ac:spMkLst>
        </pc:spChg>
        <pc:spChg chg="replST">
          <ac:chgData name="Ronny Georgi" userId="516b13485727eb9a" providerId="LiveId" clId="{669F18A1-3183-4623-B098-BEC40FDB9FF5}" dt="2022-02-13T20:17:13.851" v="584"/>
          <ac:spMkLst>
            <pc:docMk/>
            <pc:sldMk cId="2105151646" sldId="303"/>
            <ac:spMk id="28" creationId="{A1137E19-7796-45AA-B681-757677E0B9B8}"/>
          </ac:spMkLst>
        </pc:spChg>
        <pc:spChg chg="replST">
          <ac:chgData name="Ronny Georgi" userId="516b13485727eb9a" providerId="LiveId" clId="{669F18A1-3183-4623-B098-BEC40FDB9FF5}" dt="2022-02-13T20:17:13.856" v="586"/>
          <ac:spMkLst>
            <pc:docMk/>
            <pc:sldMk cId="2105151646" sldId="303"/>
            <ac:spMk id="29" creationId="{2F2F6F85-83C4-49C1-988E-F5841D3433EC}"/>
          </ac:spMkLst>
        </pc:spChg>
        <pc:spChg chg="replST">
          <ac:chgData name="Ronny Georgi" userId="516b13485727eb9a" providerId="LiveId" clId="{669F18A1-3183-4623-B098-BEC40FDB9FF5}" dt="2022-02-13T20:17:13.858" v="589"/>
          <ac:spMkLst>
            <pc:docMk/>
            <pc:sldMk cId="2105151646" sldId="303"/>
            <ac:spMk id="30" creationId="{A270BB35-34F2-4679-BAB2-7C395E8FAA85}"/>
          </ac:spMkLst>
        </pc:spChg>
        <pc:spChg chg="replST">
          <ac:chgData name="Ronny Georgi" userId="516b13485727eb9a" providerId="LiveId" clId="{669F18A1-3183-4623-B098-BEC40FDB9FF5}" dt="2022-02-13T20:17:13.865" v="592"/>
          <ac:spMkLst>
            <pc:docMk/>
            <pc:sldMk cId="2105151646" sldId="303"/>
            <ac:spMk id="31" creationId="{685898F2-3AE5-4B10-9201-C5ED4FF17B39}"/>
          </ac:spMkLst>
        </pc:spChg>
        <pc:spChg chg="replST">
          <ac:chgData name="Ronny Georgi" userId="516b13485727eb9a" providerId="LiveId" clId="{669F18A1-3183-4623-B098-BEC40FDB9FF5}" dt="2022-02-13T20:17:13.874" v="594"/>
          <ac:spMkLst>
            <pc:docMk/>
            <pc:sldMk cId="2105151646" sldId="303"/>
            <ac:spMk id="32" creationId="{C07B1372-38FF-488A-9BAA-A43DCCDAE6B6}"/>
          </ac:spMkLst>
        </pc:spChg>
        <pc:spChg chg="replST">
          <ac:chgData name="Ronny Georgi" userId="516b13485727eb9a" providerId="LiveId" clId="{669F18A1-3183-4623-B098-BEC40FDB9FF5}" dt="2022-02-13T20:17:13.878" v="597"/>
          <ac:spMkLst>
            <pc:docMk/>
            <pc:sldMk cId="2105151646" sldId="303"/>
            <ac:spMk id="33" creationId="{25B94F53-99B3-4E56-8D2D-5AB1B4412655}"/>
          </ac:spMkLst>
        </pc:spChg>
        <pc:spChg chg="del">
          <ac:chgData name="Ronny Georgi" userId="516b13485727eb9a" providerId="LiveId" clId="{669F18A1-3183-4623-B098-BEC40FDB9FF5}" dt="2022-02-13T20:16:52.347" v="79" actId="478"/>
          <ac:spMkLst>
            <pc:docMk/>
            <pc:sldMk cId="2105151646" sldId="303"/>
            <ac:spMk id="34" creationId="{79E56621-D2A7-4186-A4F4-EFA067647AB3}"/>
          </ac:spMkLst>
        </pc:spChg>
        <pc:spChg chg="del">
          <ac:chgData name="Ronny Georgi" userId="516b13485727eb9a" providerId="LiveId" clId="{669F18A1-3183-4623-B098-BEC40FDB9FF5}" dt="2022-02-13T20:16:52.351" v="80" actId="478"/>
          <ac:spMkLst>
            <pc:docMk/>
            <pc:sldMk cId="2105151646" sldId="303"/>
            <ac:spMk id="44" creationId="{53D06CA2-299C-4BB7-802F-E94B9DE703F6}"/>
          </ac:spMkLst>
        </pc:spChg>
        <pc:spChg chg="replST">
          <ac:chgData name="Ronny Georgi" userId="516b13485727eb9a" providerId="LiveId" clId="{669F18A1-3183-4623-B098-BEC40FDB9FF5}" dt="2022-02-13T20:17:13.889" v="600"/>
          <ac:spMkLst>
            <pc:docMk/>
            <pc:sldMk cId="2105151646" sldId="303"/>
            <ac:spMk id="54" creationId="{357E95A9-C2E9-4B8C-98CE-3167D889FB31}"/>
          </ac:spMkLst>
        </pc:spChg>
        <pc:spChg chg="replST">
          <ac:chgData name="Ronny Georgi" userId="516b13485727eb9a" providerId="LiveId" clId="{669F18A1-3183-4623-B098-BEC40FDB9FF5}" dt="2022-02-13T20:17:13.895" v="602"/>
          <ac:spMkLst>
            <pc:docMk/>
            <pc:sldMk cId="2105151646" sldId="303"/>
            <ac:spMk id="55" creationId="{67FC9611-8224-44B8-93FC-63781B8F81A8}"/>
          </ac:spMkLst>
        </pc:spChg>
        <pc:spChg chg="del ord replST">
          <ac:chgData name="Ronny Georgi" userId="516b13485727eb9a" providerId="LiveId" clId="{669F18A1-3183-4623-B098-BEC40FDB9FF5}" dt="2022-02-13T20:24:37.020" v="874" actId="478"/>
          <ac:spMkLst>
            <pc:docMk/>
            <pc:sldMk cId="2105151646" sldId="303"/>
            <ac:spMk id="56" creationId="{679D5380-5BB2-4C49-ABC0-FD2E99143818}"/>
          </ac:spMkLst>
        </pc:spChg>
        <pc:spChg chg="add mod">
          <ac:chgData name="Ronny Georgi" userId="516b13485727eb9a" providerId="LiveId" clId="{669F18A1-3183-4623-B098-BEC40FDB9FF5}" dt="2022-02-13T20:24:37.015" v="873" actId="478"/>
          <ac:spMkLst>
            <pc:docMk/>
            <pc:sldMk cId="2105151646" sldId="303"/>
            <ac:spMk id="58" creationId="{8D30DE6A-CCCC-4935-8F4F-7269FE2215DA}"/>
          </ac:spMkLst>
        </pc:spChg>
        <pc:spChg chg="mod ord replST">
          <ac:chgData name="Ronny Georgi" userId="516b13485727eb9a" providerId="LiveId" clId="{669F18A1-3183-4623-B098-BEC40FDB9FF5}" dt="2022-02-13T20:24:37.390" v="987"/>
          <ac:spMkLst>
            <pc:docMk/>
            <pc:sldMk cId="2105151646" sldId="303"/>
            <ac:spMk id="59" creationId="{1E87B753-C544-4545-8233-D8695D77B553}"/>
          </ac:spMkLst>
        </pc:spChg>
        <pc:spChg chg="replST">
          <ac:chgData name="Ronny Georgi" userId="516b13485727eb9a" providerId="LiveId" clId="{669F18A1-3183-4623-B098-BEC40FDB9FF5}" dt="2022-02-13T20:24:37.318" v="964"/>
          <ac:spMkLst>
            <pc:docMk/>
            <pc:sldMk cId="2105151646" sldId="303"/>
            <ac:spMk id="60" creationId="{ED2169C0-86A9-430C-BE5F-8AEC7A7A032C}"/>
          </ac:spMkLst>
        </pc:spChg>
        <pc:spChg chg="replST">
          <ac:chgData name="Ronny Georgi" userId="516b13485727eb9a" providerId="LiveId" clId="{669F18A1-3183-4623-B098-BEC40FDB9FF5}" dt="2022-02-13T20:24:37.340" v="967"/>
          <ac:spMkLst>
            <pc:docMk/>
            <pc:sldMk cId="2105151646" sldId="303"/>
            <ac:spMk id="61" creationId="{5B2BED4E-B7EE-4AD0-8DA8-C34882A8C6B2}"/>
          </ac:spMkLst>
        </pc:spChg>
        <pc:spChg chg="replST">
          <ac:chgData name="Ronny Georgi" userId="516b13485727eb9a" providerId="LiveId" clId="{669F18A1-3183-4623-B098-BEC40FDB9FF5}" dt="2022-02-13T20:24:37.346" v="969"/>
          <ac:spMkLst>
            <pc:docMk/>
            <pc:sldMk cId="2105151646" sldId="303"/>
            <ac:spMk id="62" creationId="{C54DFC90-1309-4700-A0A5-C3910A1502AB}"/>
          </ac:spMkLst>
        </pc:spChg>
        <pc:spChg chg="replST">
          <ac:chgData name="Ronny Georgi" userId="516b13485727eb9a" providerId="LiveId" clId="{669F18A1-3183-4623-B098-BEC40FDB9FF5}" dt="2022-02-13T20:24:37.349" v="972"/>
          <ac:spMkLst>
            <pc:docMk/>
            <pc:sldMk cId="2105151646" sldId="303"/>
            <ac:spMk id="63" creationId="{94537FDF-0FFB-41CD-B826-0237FC7F4CAD}"/>
          </ac:spMkLst>
        </pc:spChg>
        <pc:spChg chg="replST">
          <ac:chgData name="Ronny Georgi" userId="516b13485727eb9a" providerId="LiveId" clId="{669F18A1-3183-4623-B098-BEC40FDB9FF5}" dt="2022-02-13T20:24:37.363" v="975"/>
          <ac:spMkLst>
            <pc:docMk/>
            <pc:sldMk cId="2105151646" sldId="303"/>
            <ac:spMk id="64" creationId="{29DE08BD-8187-45B1-969C-644BB80E20BE}"/>
          </ac:spMkLst>
        </pc:spChg>
        <pc:spChg chg="replST">
          <ac:chgData name="Ronny Georgi" userId="516b13485727eb9a" providerId="LiveId" clId="{669F18A1-3183-4623-B098-BEC40FDB9FF5}" dt="2022-02-13T20:24:37.367" v="977"/>
          <ac:spMkLst>
            <pc:docMk/>
            <pc:sldMk cId="2105151646" sldId="303"/>
            <ac:spMk id="65" creationId="{2B743009-A74E-4850-9EFF-E469BC9B52C7}"/>
          </ac:spMkLst>
        </pc:spChg>
        <pc:spChg chg="replST">
          <ac:chgData name="Ronny Georgi" userId="516b13485727eb9a" providerId="LiveId" clId="{669F18A1-3183-4623-B098-BEC40FDB9FF5}" dt="2022-02-13T20:24:37.369" v="980"/>
          <ac:spMkLst>
            <pc:docMk/>
            <pc:sldMk cId="2105151646" sldId="303"/>
            <ac:spMk id="66" creationId="{44611222-FE07-4B2B-B179-D8E99F066911}"/>
          </ac:spMkLst>
        </pc:spChg>
        <pc:spChg chg="replST">
          <ac:chgData name="Ronny Georgi" userId="516b13485727eb9a" providerId="LiveId" clId="{669F18A1-3183-4623-B098-BEC40FDB9FF5}" dt="2022-02-13T20:24:37.376" v="983"/>
          <ac:spMkLst>
            <pc:docMk/>
            <pc:sldMk cId="2105151646" sldId="303"/>
            <ac:spMk id="67" creationId="{4B5DB0C3-8085-449D-8EDF-D48246FAE09D}"/>
          </ac:spMkLst>
        </pc:spChg>
        <pc:spChg chg="replST">
          <ac:chgData name="Ronny Georgi" userId="516b13485727eb9a" providerId="LiveId" clId="{669F18A1-3183-4623-B098-BEC40FDB9FF5}" dt="2022-02-13T20:24:37.385" v="985"/>
          <ac:spMkLst>
            <pc:docMk/>
            <pc:sldMk cId="2105151646" sldId="303"/>
            <ac:spMk id="68" creationId="{B3EE6BC1-AFAE-42BF-B3EA-FF2FC4A820A6}"/>
          </ac:spMkLst>
        </pc:spChg>
        <pc:spChg chg="ord replST">
          <ac:chgData name="Ronny Georgi" userId="516b13485727eb9a" providerId="LiveId" clId="{669F18A1-3183-4623-B098-BEC40FDB9FF5}" dt="2022-02-13T20:24:37.399" v="988"/>
          <ac:spMkLst>
            <pc:docMk/>
            <pc:sldMk cId="2105151646" sldId="303"/>
            <ac:spMk id="69" creationId="{3B895088-349F-443F-8946-501C339DB2F1}"/>
          </ac:spMkLst>
        </pc:spChg>
      </pc:sldChg>
      <pc:sldChg chg="addSp delSp modSp del mod">
        <pc:chgData name="Ronny Georgi" userId="516b13485727eb9a" providerId="LiveId" clId="{669F18A1-3183-4623-B098-BEC40FDB9FF5}" dt="2022-02-13T20:17:12.574" v="444" actId="2696"/>
        <pc:sldMkLst>
          <pc:docMk/>
          <pc:sldMk cId="3768889607" sldId="304"/>
        </pc:sldMkLst>
        <pc:spChg chg="add mod">
          <ac:chgData name="Ronny Georgi" userId="516b13485727eb9a" providerId="LiveId" clId="{669F18A1-3183-4623-B098-BEC40FDB9FF5}" dt="2022-02-13T20:16:52.377" v="81" actId="478"/>
          <ac:spMkLst>
            <pc:docMk/>
            <pc:sldMk cId="3768889607" sldId="304"/>
            <ac:spMk id="3" creationId="{C5E910DA-EC01-4A54-87BF-CDDFCE7A3F2D}"/>
          </ac:spMkLst>
        </pc:spChg>
        <pc:spChg chg="mod ord replST">
          <ac:chgData name="Ronny Georgi" userId="516b13485727eb9a" providerId="LiveId" clId="{669F18A1-3183-4623-B098-BEC40FDB9FF5}" dt="2022-02-13T20:16:53.397" v="333"/>
          <ac:spMkLst>
            <pc:docMk/>
            <pc:sldMk cId="3768889607" sldId="304"/>
            <ac:spMk id="4" creationId="{21A1FD76-49DA-4A40-825B-4AB021B51AA4}"/>
          </ac:spMkLst>
        </pc:spChg>
        <pc:spChg chg="replST">
          <ac:chgData name="Ronny Georgi" userId="516b13485727eb9a" providerId="LiveId" clId="{669F18A1-3183-4623-B098-BEC40FDB9FF5}" dt="2022-02-13T20:16:53.246" v="289"/>
          <ac:spMkLst>
            <pc:docMk/>
            <pc:sldMk cId="3768889607" sldId="304"/>
            <ac:spMk id="5" creationId="{D55DBC11-042A-4307-9FCC-B908A871104A}"/>
          </ac:spMkLst>
        </pc:spChg>
        <pc:spChg chg="replST">
          <ac:chgData name="Ronny Georgi" userId="516b13485727eb9a" providerId="LiveId" clId="{669F18A1-3183-4623-B098-BEC40FDB9FF5}" dt="2022-02-13T20:16:53.264" v="292"/>
          <ac:spMkLst>
            <pc:docMk/>
            <pc:sldMk cId="3768889607" sldId="304"/>
            <ac:spMk id="6" creationId="{6F0A9C08-4794-41D8-839C-748C97BC063C}"/>
          </ac:spMkLst>
        </pc:spChg>
        <pc:spChg chg="replST">
          <ac:chgData name="Ronny Georgi" userId="516b13485727eb9a" providerId="LiveId" clId="{669F18A1-3183-4623-B098-BEC40FDB9FF5}" dt="2022-02-13T20:16:53.278" v="294"/>
          <ac:spMkLst>
            <pc:docMk/>
            <pc:sldMk cId="3768889607" sldId="304"/>
            <ac:spMk id="7" creationId="{CAAF3A8C-21C4-4F33-91D7-E246A7B26337}"/>
          </ac:spMkLst>
        </pc:spChg>
        <pc:spChg chg="replST">
          <ac:chgData name="Ronny Georgi" userId="516b13485727eb9a" providerId="LiveId" clId="{669F18A1-3183-4623-B098-BEC40FDB9FF5}" dt="2022-02-13T20:16:53.285" v="297"/>
          <ac:spMkLst>
            <pc:docMk/>
            <pc:sldMk cId="3768889607" sldId="304"/>
            <ac:spMk id="8" creationId="{60293E1A-852F-4C0F-B09C-59AA35701473}"/>
          </ac:spMkLst>
        </pc:spChg>
        <pc:spChg chg="replST">
          <ac:chgData name="Ronny Georgi" userId="516b13485727eb9a" providerId="LiveId" clId="{669F18A1-3183-4623-B098-BEC40FDB9FF5}" dt="2022-02-13T20:16:53.298" v="300"/>
          <ac:spMkLst>
            <pc:docMk/>
            <pc:sldMk cId="3768889607" sldId="304"/>
            <ac:spMk id="9" creationId="{F1ACC119-0796-4895-951C-6F6B3E6C0313}"/>
          </ac:spMkLst>
        </pc:spChg>
        <pc:spChg chg="replST">
          <ac:chgData name="Ronny Georgi" userId="516b13485727eb9a" providerId="LiveId" clId="{669F18A1-3183-4623-B098-BEC40FDB9FF5}" dt="2022-02-13T20:16:53.302" v="302"/>
          <ac:spMkLst>
            <pc:docMk/>
            <pc:sldMk cId="3768889607" sldId="304"/>
            <ac:spMk id="10" creationId="{8729BB24-281C-4580-BB64-4040572E85C2}"/>
          </ac:spMkLst>
        </pc:spChg>
        <pc:spChg chg="replST">
          <ac:chgData name="Ronny Georgi" userId="516b13485727eb9a" providerId="LiveId" clId="{669F18A1-3183-4623-B098-BEC40FDB9FF5}" dt="2022-02-13T20:16:53.304" v="305"/>
          <ac:spMkLst>
            <pc:docMk/>
            <pc:sldMk cId="3768889607" sldId="304"/>
            <ac:spMk id="11" creationId="{9927B181-8D7E-498F-BA7D-D8393BC4283A}"/>
          </ac:spMkLst>
        </pc:spChg>
        <pc:spChg chg="replST">
          <ac:chgData name="Ronny Georgi" userId="516b13485727eb9a" providerId="LiveId" clId="{669F18A1-3183-4623-B098-BEC40FDB9FF5}" dt="2022-02-13T20:16:53.316" v="308"/>
          <ac:spMkLst>
            <pc:docMk/>
            <pc:sldMk cId="3768889607" sldId="304"/>
            <ac:spMk id="12" creationId="{AFC52565-3A30-4769-B2FF-A73AD5D58B68}"/>
          </ac:spMkLst>
        </pc:spChg>
        <pc:spChg chg="replST">
          <ac:chgData name="Ronny Georgi" userId="516b13485727eb9a" providerId="LiveId" clId="{669F18A1-3183-4623-B098-BEC40FDB9FF5}" dt="2022-02-13T20:16:53.324" v="310"/>
          <ac:spMkLst>
            <pc:docMk/>
            <pc:sldMk cId="3768889607" sldId="304"/>
            <ac:spMk id="13" creationId="{7BC919C1-D925-484B-9AC6-F325BCD6C480}"/>
          </ac:spMkLst>
        </pc:spChg>
        <pc:spChg chg="replST">
          <ac:chgData name="Ronny Georgi" userId="516b13485727eb9a" providerId="LiveId" clId="{669F18A1-3183-4623-B098-BEC40FDB9FF5}" dt="2022-02-13T20:16:53.331" v="313"/>
          <ac:spMkLst>
            <pc:docMk/>
            <pc:sldMk cId="3768889607" sldId="304"/>
            <ac:spMk id="14" creationId="{93752758-470B-4605-9606-28FD824C74D2}"/>
          </ac:spMkLst>
        </pc:spChg>
        <pc:spChg chg="replST">
          <ac:chgData name="Ronny Georgi" userId="516b13485727eb9a" providerId="LiveId" clId="{669F18A1-3183-4623-B098-BEC40FDB9FF5}" dt="2022-02-13T20:16:53.345" v="315"/>
          <ac:spMkLst>
            <pc:docMk/>
            <pc:sldMk cId="3768889607" sldId="304"/>
            <ac:spMk id="15" creationId="{EF621C16-52B5-4068-9B39-64D0F1A3E828}"/>
          </ac:spMkLst>
        </pc:spChg>
        <pc:spChg chg="replST">
          <ac:chgData name="Ronny Georgi" userId="516b13485727eb9a" providerId="LiveId" clId="{669F18A1-3183-4623-B098-BEC40FDB9FF5}" dt="2022-02-13T20:16:53.349" v="317"/>
          <ac:spMkLst>
            <pc:docMk/>
            <pc:sldMk cId="3768889607" sldId="304"/>
            <ac:spMk id="16" creationId="{D9CA6065-AE1E-46AB-AFEA-E4CB58B123C1}"/>
          </ac:spMkLst>
        </pc:spChg>
        <pc:spChg chg="ord replST">
          <ac:chgData name="Ronny Georgi" userId="516b13485727eb9a" providerId="LiveId" clId="{669F18A1-3183-4623-B098-BEC40FDB9FF5}" dt="2022-02-13T20:16:53.404" v="334"/>
          <ac:spMkLst>
            <pc:docMk/>
            <pc:sldMk cId="3768889607" sldId="304"/>
            <ac:spMk id="17" creationId="{4D64A391-1F42-4268-A205-D3EF33EC130F}"/>
          </ac:spMkLst>
        </pc:spChg>
        <pc:spChg chg="replST">
          <ac:chgData name="Ronny Georgi" userId="516b13485727eb9a" providerId="LiveId" clId="{669F18A1-3183-4623-B098-BEC40FDB9FF5}" dt="2022-02-13T20:16:53.354" v="321"/>
          <ac:spMkLst>
            <pc:docMk/>
            <pc:sldMk cId="3768889607" sldId="304"/>
            <ac:spMk id="18" creationId="{9074FF29-3954-4362-A780-2829200BE01A}"/>
          </ac:spMkLst>
        </pc:spChg>
        <pc:spChg chg="replST">
          <ac:chgData name="Ronny Georgi" userId="516b13485727eb9a" providerId="LiveId" clId="{669F18A1-3183-4623-B098-BEC40FDB9FF5}" dt="2022-02-13T20:16:53.367" v="323"/>
          <ac:spMkLst>
            <pc:docMk/>
            <pc:sldMk cId="3768889607" sldId="304"/>
            <ac:spMk id="19" creationId="{4863A9D1-BBE4-4E79-97F2-4D2D871FD302}"/>
          </ac:spMkLst>
        </pc:spChg>
        <pc:spChg chg="replST">
          <ac:chgData name="Ronny Georgi" userId="516b13485727eb9a" providerId="LiveId" clId="{669F18A1-3183-4623-B098-BEC40FDB9FF5}" dt="2022-02-13T20:16:53.371" v="325"/>
          <ac:spMkLst>
            <pc:docMk/>
            <pc:sldMk cId="3768889607" sldId="304"/>
            <ac:spMk id="20" creationId="{F617FB0C-5B2C-4D47-BF11-2E2824E4470A}"/>
          </ac:spMkLst>
        </pc:spChg>
        <pc:spChg chg="replST">
          <ac:chgData name="Ronny Georgi" userId="516b13485727eb9a" providerId="LiveId" clId="{669F18A1-3183-4623-B098-BEC40FDB9FF5}" dt="2022-02-13T20:16:53.374" v="328"/>
          <ac:spMkLst>
            <pc:docMk/>
            <pc:sldMk cId="3768889607" sldId="304"/>
            <ac:spMk id="21" creationId="{12C5C9DB-6209-4017-ABB9-0EBD15F81166}"/>
          </ac:spMkLst>
        </pc:spChg>
        <pc:spChg chg="replST">
          <ac:chgData name="Ronny Georgi" userId="516b13485727eb9a" providerId="LiveId" clId="{669F18A1-3183-4623-B098-BEC40FDB9FF5}" dt="2022-02-13T20:16:53.390" v="330"/>
          <ac:spMkLst>
            <pc:docMk/>
            <pc:sldMk cId="3768889607" sldId="304"/>
            <ac:spMk id="22" creationId="{23C41C58-F2F0-4991-A8C2-086047DB36E0}"/>
          </ac:spMkLst>
        </pc:spChg>
        <pc:spChg chg="replST">
          <ac:chgData name="Ronny Georgi" userId="516b13485727eb9a" providerId="LiveId" clId="{669F18A1-3183-4623-B098-BEC40FDB9FF5}" dt="2022-02-13T20:16:53.396" v="332"/>
          <ac:spMkLst>
            <pc:docMk/>
            <pc:sldMk cId="3768889607" sldId="304"/>
            <ac:spMk id="23" creationId="{5DD5950F-AEEF-43D0-BBD5-2B6380F2FEA3}"/>
          </ac:spMkLst>
        </pc:spChg>
        <pc:spChg chg="del">
          <ac:chgData name="Ronny Georgi" userId="516b13485727eb9a" providerId="LiveId" clId="{669F18A1-3183-4623-B098-BEC40FDB9FF5}" dt="2022-02-13T20:16:52.377" v="81" actId="478"/>
          <ac:spMkLst>
            <pc:docMk/>
            <pc:sldMk cId="3768889607" sldId="304"/>
            <ac:spMk id="34" creationId="{BDFFC3B1-45CB-4738-B4F9-87574DCD53C5}"/>
          </ac:spMkLst>
        </pc:spChg>
        <pc:spChg chg="del">
          <ac:chgData name="Ronny Georgi" userId="516b13485727eb9a" providerId="LiveId" clId="{669F18A1-3183-4623-B098-BEC40FDB9FF5}" dt="2022-02-13T20:16:52.386" v="82" actId="478"/>
          <ac:spMkLst>
            <pc:docMk/>
            <pc:sldMk cId="3768889607" sldId="304"/>
            <ac:spMk id="47" creationId="{9C45CF1D-B6F6-4F4C-B601-404CF62A075F}"/>
          </ac:spMkLst>
        </pc:spChg>
      </pc:sldChg>
      <pc:sldChg chg="addSp modSp mod">
        <pc:chgData name="Ronny Georgi" userId="516b13485727eb9a" providerId="LiveId" clId="{669F18A1-3183-4623-B098-BEC40FDB9FF5}" dt="2022-02-13T20:26:23.589" v="1029" actId="207"/>
        <pc:sldMkLst>
          <pc:docMk/>
          <pc:sldMk cId="3330967742" sldId="317"/>
        </pc:sldMkLst>
        <pc:spChg chg="add mod">
          <ac:chgData name="Ronny Georgi" userId="516b13485727eb9a" providerId="LiveId" clId="{669F18A1-3183-4623-B098-BEC40FDB9FF5}" dt="2022-02-13T20:26:23.589" v="1029" actId="207"/>
          <ac:spMkLst>
            <pc:docMk/>
            <pc:sldMk cId="3330967742" sldId="317"/>
            <ac:spMk id="5" creationId="{BE63C81D-D613-4C20-B9BA-9DD2878E5C3B}"/>
          </ac:spMkLst>
        </pc:spChg>
      </pc:sldChg>
      <pc:sldChg chg="addSp delSp modSp mod ord">
        <pc:chgData name="Ronny Georgi" userId="516b13485727eb9a" providerId="LiveId" clId="{669F18A1-3183-4623-B098-BEC40FDB9FF5}" dt="2022-02-13T20:27:46.012" v="1055" actId="1076"/>
        <pc:sldMkLst>
          <pc:docMk/>
          <pc:sldMk cId="1583462853" sldId="330"/>
        </pc:sldMkLst>
        <pc:spChg chg="del">
          <ac:chgData name="Ronny Georgi" userId="516b13485727eb9a" providerId="LiveId" clId="{669F18A1-3183-4623-B098-BEC40FDB9FF5}" dt="2022-02-13T20:18:56.280" v="617" actId="478"/>
          <ac:spMkLst>
            <pc:docMk/>
            <pc:sldMk cId="1583462853" sldId="330"/>
            <ac:spMk id="4" creationId="{5AEEF87A-F484-44A8-BC01-2385E1BD7EE5}"/>
          </ac:spMkLst>
        </pc:spChg>
        <pc:spChg chg="del mod">
          <ac:chgData name="Ronny Georgi" userId="516b13485727eb9a" providerId="LiveId" clId="{669F18A1-3183-4623-B098-BEC40FDB9FF5}" dt="2022-02-13T20:27:06.706" v="1040" actId="478"/>
          <ac:spMkLst>
            <pc:docMk/>
            <pc:sldMk cId="1583462853" sldId="330"/>
            <ac:spMk id="6" creationId="{F9BE1108-4C18-45DA-8A0A-127F47EA50C5}"/>
          </ac:spMkLst>
        </pc:spChg>
        <pc:spChg chg="add del mod">
          <ac:chgData name="Ronny Georgi" userId="516b13485727eb9a" providerId="LiveId" clId="{669F18A1-3183-4623-B098-BEC40FDB9FF5}" dt="2022-02-13T20:27:22.760" v="1051" actId="478"/>
          <ac:spMkLst>
            <pc:docMk/>
            <pc:sldMk cId="1583462853" sldId="330"/>
            <ac:spMk id="7" creationId="{C4B545B4-8403-4AE7-ACD3-3315BB0EC070}"/>
          </ac:spMkLst>
        </pc:spChg>
        <pc:spChg chg="add mod">
          <ac:chgData name="Ronny Georgi" userId="516b13485727eb9a" providerId="LiveId" clId="{669F18A1-3183-4623-B098-BEC40FDB9FF5}" dt="2022-02-13T20:27:46.012" v="1055" actId="1076"/>
          <ac:spMkLst>
            <pc:docMk/>
            <pc:sldMk cId="1583462853" sldId="330"/>
            <ac:spMk id="8" creationId="{C32826EE-6FBC-4169-9DEE-B81E2CDE21D6}"/>
          </ac:spMkLst>
        </pc:spChg>
        <pc:spChg chg="mod">
          <ac:chgData name="Ronny Georgi" userId="516b13485727eb9a" providerId="LiveId" clId="{669F18A1-3183-4623-B098-BEC40FDB9FF5}" dt="2022-02-13T20:27:29.395" v="1054" actId="20577"/>
          <ac:spMkLst>
            <pc:docMk/>
            <pc:sldMk cId="1583462853" sldId="330"/>
            <ac:spMk id="646" creationId="{00000000-0000-0000-0000-000000000000}"/>
          </ac:spMkLst>
        </pc:spChg>
        <pc:graphicFrameChg chg="del">
          <ac:chgData name="Ronny Georgi" userId="516b13485727eb9a" providerId="LiveId" clId="{669F18A1-3183-4623-B098-BEC40FDB9FF5}" dt="2022-02-13T20:18:58.516" v="618" actId="478"/>
          <ac:graphicFrameMkLst>
            <pc:docMk/>
            <pc:sldMk cId="1583462853" sldId="330"/>
            <ac:graphicFrameMk id="3" creationId="{A897B44F-66D0-47BF-B2DA-A0CE105C9EEC}"/>
          </ac:graphicFrameMkLst>
        </pc:graphicFrameChg>
      </pc:sldChg>
      <pc:sldChg chg="addSp modSp mod ord">
        <pc:chgData name="Ronny Georgi" userId="516b13485727eb9a" providerId="LiveId" clId="{669F18A1-3183-4623-B098-BEC40FDB9FF5}" dt="2022-02-13T20:27:16.833" v="1050" actId="20577"/>
        <pc:sldMkLst>
          <pc:docMk/>
          <pc:sldMk cId="3706112271" sldId="331"/>
        </pc:sldMkLst>
        <pc:spChg chg="add mod">
          <ac:chgData name="Ronny Georgi" userId="516b13485727eb9a" providerId="LiveId" clId="{669F18A1-3183-4623-B098-BEC40FDB9FF5}" dt="2022-02-13T20:27:00.767" v="1037" actId="1076"/>
          <ac:spMkLst>
            <pc:docMk/>
            <pc:sldMk cId="3706112271" sldId="331"/>
            <ac:spMk id="6" creationId="{9EC9DB9B-6565-46DC-9F2E-A598C622296D}"/>
          </ac:spMkLst>
        </pc:spChg>
        <pc:spChg chg="add mod">
          <ac:chgData name="Ronny Georgi" userId="516b13485727eb9a" providerId="LiveId" clId="{669F18A1-3183-4623-B098-BEC40FDB9FF5}" dt="2022-02-13T20:27:16.833" v="1050" actId="20577"/>
          <ac:spMkLst>
            <pc:docMk/>
            <pc:sldMk cId="3706112271" sldId="331"/>
            <ac:spMk id="7" creationId="{23E5BC34-A807-4258-A356-2990C169CE53}"/>
          </ac:spMkLst>
        </pc:spChg>
        <pc:spChg chg="mod">
          <ac:chgData name="Ronny Georgi" userId="516b13485727eb9a" providerId="LiveId" clId="{669F18A1-3183-4623-B098-BEC40FDB9FF5}" dt="2022-02-13T20:21:35.795" v="671" actId="20577"/>
          <ac:spMkLst>
            <pc:docMk/>
            <pc:sldMk cId="3706112271" sldId="331"/>
            <ac:spMk id="646" creationId="{00000000-0000-0000-0000-000000000000}"/>
          </ac:spMkLst>
        </pc:spChg>
      </pc:sldChg>
      <pc:sldChg chg="addSp delSp modSp mod delAnim">
        <pc:chgData name="Ronny Georgi" userId="516b13485727eb9a" providerId="LiveId" clId="{669F18A1-3183-4623-B098-BEC40FDB9FF5}" dt="2022-02-13T20:28:44.478" v="1076" actId="1076"/>
        <pc:sldMkLst>
          <pc:docMk/>
          <pc:sldMk cId="3779803427" sldId="332"/>
        </pc:sldMkLst>
        <pc:spChg chg="add mod">
          <ac:chgData name="Ronny Georgi" userId="516b13485727eb9a" providerId="LiveId" clId="{669F18A1-3183-4623-B098-BEC40FDB9FF5}" dt="2022-02-13T20:28:44.478" v="1076" actId="1076"/>
          <ac:spMkLst>
            <pc:docMk/>
            <pc:sldMk cId="3779803427" sldId="332"/>
            <ac:spMk id="4" creationId="{63C11F22-C0C4-410F-A942-EDDF890800D7}"/>
          </ac:spMkLst>
        </pc:spChg>
        <pc:spChg chg="mod">
          <ac:chgData name="Ronny Georgi" userId="516b13485727eb9a" providerId="LiveId" clId="{669F18A1-3183-4623-B098-BEC40FDB9FF5}" dt="2022-02-13T20:25:10.483" v="1016" actId="6549"/>
          <ac:spMkLst>
            <pc:docMk/>
            <pc:sldMk cId="3779803427" sldId="332"/>
            <ac:spMk id="646" creationId="{00000000-0000-0000-0000-000000000000}"/>
          </ac:spMkLst>
        </pc:spChg>
        <pc:picChg chg="del">
          <ac:chgData name="Ronny Georgi" userId="516b13485727eb9a" providerId="LiveId" clId="{669F18A1-3183-4623-B098-BEC40FDB9FF5}" dt="2022-02-13T20:25:16.103" v="1017" actId="478"/>
          <ac:picMkLst>
            <pc:docMk/>
            <pc:sldMk cId="3779803427" sldId="332"/>
            <ac:picMk id="2" creationId="{764DBCB9-88E1-43CE-BB28-FC4B3AF1C5BF}"/>
          </ac:picMkLst>
        </pc:picChg>
      </pc:sldChg>
      <pc:sldChg chg="del">
        <pc:chgData name="Ronny Georgi" userId="516b13485727eb9a" providerId="LiveId" clId="{669F18A1-3183-4623-B098-BEC40FDB9FF5}" dt="2022-02-13T20:24:51.950" v="998" actId="47"/>
        <pc:sldMkLst>
          <pc:docMk/>
          <pc:sldMk cId="3504250057" sldId="335"/>
        </pc:sldMkLst>
      </pc:sldChg>
      <pc:sldChg chg="del">
        <pc:chgData name="Ronny Georgi" userId="516b13485727eb9a" providerId="LiveId" clId="{669F18A1-3183-4623-B098-BEC40FDB9FF5}" dt="2022-02-13T20:24:53.125" v="999" actId="47"/>
        <pc:sldMkLst>
          <pc:docMk/>
          <pc:sldMk cId="2603700878" sldId="336"/>
        </pc:sldMkLst>
      </pc:sldChg>
      <pc:sldChg chg="del">
        <pc:chgData name="Ronny Georgi" userId="516b13485727eb9a" providerId="LiveId" clId="{669F18A1-3183-4623-B098-BEC40FDB9FF5}" dt="2022-02-13T20:24:59.816" v="1000" actId="47"/>
        <pc:sldMkLst>
          <pc:docMk/>
          <pc:sldMk cId="3968629915" sldId="337"/>
        </pc:sldMkLst>
      </pc:sldChg>
      <pc:sldChg chg="del">
        <pc:chgData name="Ronny Georgi" userId="516b13485727eb9a" providerId="LiveId" clId="{669F18A1-3183-4623-B098-BEC40FDB9FF5}" dt="2022-02-13T20:25:00.981" v="1001" actId="47"/>
        <pc:sldMkLst>
          <pc:docMk/>
          <pc:sldMk cId="291106118" sldId="338"/>
        </pc:sldMkLst>
      </pc:sldChg>
      <pc:sldChg chg="addSp delSp modSp del mod">
        <pc:chgData name="Ronny Georgi" userId="516b13485727eb9a" providerId="LiveId" clId="{669F18A1-3183-4623-B098-BEC40FDB9FF5}" dt="2022-02-13T20:17:12.616" v="445" actId="2696"/>
        <pc:sldMkLst>
          <pc:docMk/>
          <pc:sldMk cId="1064240411" sldId="342"/>
        </pc:sldMkLst>
        <pc:spChg chg="add mod">
          <ac:chgData name="Ronny Georgi" userId="516b13485727eb9a" providerId="LiveId" clId="{669F18A1-3183-4623-B098-BEC40FDB9FF5}" dt="2022-02-13T20:16:52.400" v="83" actId="478"/>
          <ac:spMkLst>
            <pc:docMk/>
            <pc:sldMk cId="1064240411" sldId="342"/>
            <ac:spMk id="3" creationId="{621A35F8-89AF-44FE-8B6F-055624D22A43}"/>
          </ac:spMkLst>
        </pc:spChg>
        <pc:spChg chg="del">
          <ac:chgData name="Ronny Georgi" userId="516b13485727eb9a" providerId="LiveId" clId="{669F18A1-3183-4623-B098-BEC40FDB9FF5}" dt="2022-02-13T20:16:52.400" v="83" actId="478"/>
          <ac:spMkLst>
            <pc:docMk/>
            <pc:sldMk cId="1064240411" sldId="342"/>
            <ac:spMk id="4" creationId="{A9E5EC4A-075B-48AE-8ADD-92DCE905BA3A}"/>
          </ac:spMkLst>
        </pc:spChg>
        <pc:spChg chg="del">
          <ac:chgData name="Ronny Georgi" userId="516b13485727eb9a" providerId="LiveId" clId="{669F18A1-3183-4623-B098-BEC40FDB9FF5}" dt="2022-02-13T20:16:52.404" v="84" actId="478"/>
          <ac:spMkLst>
            <pc:docMk/>
            <pc:sldMk cId="1064240411" sldId="342"/>
            <ac:spMk id="20" creationId="{51DF7C00-108B-4DE4-A5A9-DCC3EE887DE3}"/>
          </ac:spMkLst>
        </pc:spChg>
        <pc:spChg chg="mod ord replST">
          <ac:chgData name="Ronny Georgi" userId="516b13485727eb9a" providerId="LiveId" clId="{669F18A1-3183-4623-B098-BEC40FDB9FF5}" dt="2022-02-13T20:16:53.577" v="383"/>
          <ac:spMkLst>
            <pc:docMk/>
            <pc:sldMk cId="1064240411" sldId="342"/>
            <ac:spMk id="24" creationId="{68656843-167F-46D4-BFD2-A1F0DD83FEDE}"/>
          </ac:spMkLst>
        </pc:spChg>
        <pc:spChg chg="replST">
          <ac:chgData name="Ronny Georgi" userId="516b13485727eb9a" providerId="LiveId" clId="{669F18A1-3183-4623-B098-BEC40FDB9FF5}" dt="2022-02-13T20:16:53.425" v="339"/>
          <ac:spMkLst>
            <pc:docMk/>
            <pc:sldMk cId="1064240411" sldId="342"/>
            <ac:spMk id="25" creationId="{A0B8303F-4192-4359-934F-5240F6A632CA}"/>
          </ac:spMkLst>
        </pc:spChg>
        <pc:spChg chg="replST">
          <ac:chgData name="Ronny Georgi" userId="516b13485727eb9a" providerId="LiveId" clId="{669F18A1-3183-4623-B098-BEC40FDB9FF5}" dt="2022-02-13T20:16:53.451" v="342"/>
          <ac:spMkLst>
            <pc:docMk/>
            <pc:sldMk cId="1064240411" sldId="342"/>
            <ac:spMk id="26" creationId="{73FA315C-A22D-4108-A265-A93E4F1F941E}"/>
          </ac:spMkLst>
        </pc:spChg>
        <pc:spChg chg="replST">
          <ac:chgData name="Ronny Georgi" userId="516b13485727eb9a" providerId="LiveId" clId="{669F18A1-3183-4623-B098-BEC40FDB9FF5}" dt="2022-02-13T20:16:53.463" v="344"/>
          <ac:spMkLst>
            <pc:docMk/>
            <pc:sldMk cId="1064240411" sldId="342"/>
            <ac:spMk id="27" creationId="{CC1A15FC-C3A0-4D07-AB67-0EE697845475}"/>
          </ac:spMkLst>
        </pc:spChg>
        <pc:spChg chg="replST">
          <ac:chgData name="Ronny Georgi" userId="516b13485727eb9a" providerId="LiveId" clId="{669F18A1-3183-4623-B098-BEC40FDB9FF5}" dt="2022-02-13T20:16:53.469" v="347"/>
          <ac:spMkLst>
            <pc:docMk/>
            <pc:sldMk cId="1064240411" sldId="342"/>
            <ac:spMk id="28" creationId="{F3F6CDC3-87BA-4683-B4AE-2AB5D412D33B}"/>
          </ac:spMkLst>
        </pc:spChg>
        <pc:spChg chg="replST">
          <ac:chgData name="Ronny Georgi" userId="516b13485727eb9a" providerId="LiveId" clId="{669F18A1-3183-4623-B098-BEC40FDB9FF5}" dt="2022-02-13T20:16:53.485" v="350"/>
          <ac:spMkLst>
            <pc:docMk/>
            <pc:sldMk cId="1064240411" sldId="342"/>
            <ac:spMk id="29" creationId="{C27D37BF-B714-4D3A-A7EF-B2C3CED03178}"/>
          </ac:spMkLst>
        </pc:spChg>
        <pc:spChg chg="replST">
          <ac:chgData name="Ronny Georgi" userId="516b13485727eb9a" providerId="LiveId" clId="{669F18A1-3183-4623-B098-BEC40FDB9FF5}" dt="2022-02-13T20:16:53.493" v="352"/>
          <ac:spMkLst>
            <pc:docMk/>
            <pc:sldMk cId="1064240411" sldId="342"/>
            <ac:spMk id="30" creationId="{FE1DD1CA-B452-497E-96E5-D84A82AE9979}"/>
          </ac:spMkLst>
        </pc:spChg>
        <pc:spChg chg="replST">
          <ac:chgData name="Ronny Georgi" userId="516b13485727eb9a" providerId="LiveId" clId="{669F18A1-3183-4623-B098-BEC40FDB9FF5}" dt="2022-02-13T20:16:53.503" v="355"/>
          <ac:spMkLst>
            <pc:docMk/>
            <pc:sldMk cId="1064240411" sldId="342"/>
            <ac:spMk id="31" creationId="{5B1C8148-A316-4F79-9D26-78B104C11D28}"/>
          </ac:spMkLst>
        </pc:spChg>
        <pc:spChg chg="replST">
          <ac:chgData name="Ronny Georgi" userId="516b13485727eb9a" providerId="LiveId" clId="{669F18A1-3183-4623-B098-BEC40FDB9FF5}" dt="2022-02-13T20:16:53.521" v="358"/>
          <ac:spMkLst>
            <pc:docMk/>
            <pc:sldMk cId="1064240411" sldId="342"/>
            <ac:spMk id="32" creationId="{CC28FC7F-FE96-4758-A373-C0411BD1D87E}"/>
          </ac:spMkLst>
        </pc:spChg>
        <pc:spChg chg="replST">
          <ac:chgData name="Ronny Georgi" userId="516b13485727eb9a" providerId="LiveId" clId="{669F18A1-3183-4623-B098-BEC40FDB9FF5}" dt="2022-02-13T20:16:53.528" v="360"/>
          <ac:spMkLst>
            <pc:docMk/>
            <pc:sldMk cId="1064240411" sldId="342"/>
            <ac:spMk id="33" creationId="{8CF438F4-021B-4971-AE90-51B0E6DF514D}"/>
          </ac:spMkLst>
        </pc:spChg>
        <pc:spChg chg="replST">
          <ac:chgData name="Ronny Georgi" userId="516b13485727eb9a" providerId="LiveId" clId="{669F18A1-3183-4623-B098-BEC40FDB9FF5}" dt="2022-02-13T20:16:53.533" v="363"/>
          <ac:spMkLst>
            <pc:docMk/>
            <pc:sldMk cId="1064240411" sldId="342"/>
            <ac:spMk id="34" creationId="{7DD1C93B-FEBB-46F0-A690-A78B6ED8978A}"/>
          </ac:spMkLst>
        </pc:spChg>
        <pc:spChg chg="replST">
          <ac:chgData name="Ronny Georgi" userId="516b13485727eb9a" providerId="LiveId" clId="{669F18A1-3183-4623-B098-BEC40FDB9FF5}" dt="2022-02-13T20:16:53.542" v="365"/>
          <ac:spMkLst>
            <pc:docMk/>
            <pc:sldMk cId="1064240411" sldId="342"/>
            <ac:spMk id="35" creationId="{3D2BD801-6BBA-47E6-B7B6-9D02FEB77FB6}"/>
          </ac:spMkLst>
        </pc:spChg>
        <pc:spChg chg="replST">
          <ac:chgData name="Ronny Georgi" userId="516b13485727eb9a" providerId="LiveId" clId="{669F18A1-3183-4623-B098-BEC40FDB9FF5}" dt="2022-02-13T20:16:53.545" v="367"/>
          <ac:spMkLst>
            <pc:docMk/>
            <pc:sldMk cId="1064240411" sldId="342"/>
            <ac:spMk id="36" creationId="{4170C093-64F9-49B6-B5F9-F216EE9B0D5F}"/>
          </ac:spMkLst>
        </pc:spChg>
        <pc:spChg chg="replST">
          <ac:chgData name="Ronny Georgi" userId="516b13485727eb9a" providerId="LiveId" clId="{669F18A1-3183-4623-B098-BEC40FDB9FF5}" dt="2022-02-13T20:16:53.547" v="370"/>
          <ac:spMkLst>
            <pc:docMk/>
            <pc:sldMk cId="1064240411" sldId="342"/>
            <ac:spMk id="37" creationId="{18430052-7829-4E1B-95DE-53D0D812F2BA}"/>
          </ac:spMkLst>
        </pc:spChg>
        <pc:spChg chg="replST">
          <ac:chgData name="Ronny Georgi" userId="516b13485727eb9a" providerId="LiveId" clId="{669F18A1-3183-4623-B098-BEC40FDB9FF5}" dt="2022-02-13T20:16:53.558" v="372"/>
          <ac:spMkLst>
            <pc:docMk/>
            <pc:sldMk cId="1064240411" sldId="342"/>
            <ac:spMk id="38" creationId="{E3FBBBB2-ACF2-4F79-9CEB-533C7C6F63D0}"/>
          </ac:spMkLst>
        </pc:spChg>
        <pc:spChg chg="replST">
          <ac:chgData name="Ronny Georgi" userId="516b13485727eb9a" providerId="LiveId" clId="{669F18A1-3183-4623-B098-BEC40FDB9FF5}" dt="2022-02-13T20:16:53.562" v="374"/>
          <ac:spMkLst>
            <pc:docMk/>
            <pc:sldMk cId="1064240411" sldId="342"/>
            <ac:spMk id="39" creationId="{82A34E40-AD02-41F7-B18C-15522076093A}"/>
          </ac:spMkLst>
        </pc:spChg>
        <pc:spChg chg="ord replST">
          <ac:chgData name="Ronny Georgi" userId="516b13485727eb9a" providerId="LiveId" clId="{669F18A1-3183-4623-B098-BEC40FDB9FF5}" dt="2022-02-13T20:16:53.582" v="384"/>
          <ac:spMkLst>
            <pc:docMk/>
            <pc:sldMk cId="1064240411" sldId="342"/>
            <ac:spMk id="40" creationId="{BFADCC58-F54C-4DA5-AA29-56D8DF201E19}"/>
          </ac:spMkLst>
        </pc:spChg>
        <pc:spChg chg="replST">
          <ac:chgData name="Ronny Georgi" userId="516b13485727eb9a" providerId="LiveId" clId="{669F18A1-3183-4623-B098-BEC40FDB9FF5}" dt="2022-02-13T20:16:53.566" v="378"/>
          <ac:spMkLst>
            <pc:docMk/>
            <pc:sldMk cId="1064240411" sldId="342"/>
            <ac:spMk id="41" creationId="{9D7A6DA9-74F1-4682-97CA-F0AB93B4C5BC}"/>
          </ac:spMkLst>
        </pc:spChg>
        <pc:spChg chg="replST">
          <ac:chgData name="Ronny Georgi" userId="516b13485727eb9a" providerId="LiveId" clId="{669F18A1-3183-4623-B098-BEC40FDB9FF5}" dt="2022-02-13T20:16:53.573" v="380"/>
          <ac:spMkLst>
            <pc:docMk/>
            <pc:sldMk cId="1064240411" sldId="342"/>
            <ac:spMk id="42" creationId="{F8266928-9D52-44D6-B9CA-44B75907F011}"/>
          </ac:spMkLst>
        </pc:spChg>
        <pc:spChg chg="replST">
          <ac:chgData name="Ronny Georgi" userId="516b13485727eb9a" providerId="LiveId" clId="{669F18A1-3183-4623-B098-BEC40FDB9FF5}" dt="2022-02-13T20:16:53.576" v="382"/>
          <ac:spMkLst>
            <pc:docMk/>
            <pc:sldMk cId="1064240411" sldId="342"/>
            <ac:spMk id="43" creationId="{C150B65E-F5C4-487F-AE84-FC3DE5B9D7F3}"/>
          </ac:spMkLst>
        </pc:spChg>
      </pc:sldChg>
      <pc:sldChg chg="addSp delSp modSp del mod">
        <pc:chgData name="Ronny Georgi" userId="516b13485727eb9a" providerId="LiveId" clId="{669F18A1-3183-4623-B098-BEC40FDB9FF5}" dt="2022-02-13T20:17:12.660" v="446" actId="2696"/>
        <pc:sldMkLst>
          <pc:docMk/>
          <pc:sldMk cId="1327046951" sldId="343"/>
        </pc:sldMkLst>
        <pc:spChg chg="add mod">
          <ac:chgData name="Ronny Georgi" userId="516b13485727eb9a" providerId="LiveId" clId="{669F18A1-3183-4623-B098-BEC40FDB9FF5}" dt="2022-02-13T20:16:52.412" v="85" actId="478"/>
          <ac:spMkLst>
            <pc:docMk/>
            <pc:sldMk cId="1327046951" sldId="343"/>
            <ac:spMk id="3" creationId="{6840D728-F6CD-4DEF-93F1-445869AF3E11}"/>
          </ac:spMkLst>
        </pc:spChg>
        <pc:spChg chg="del">
          <ac:chgData name="Ronny Georgi" userId="516b13485727eb9a" providerId="LiveId" clId="{669F18A1-3183-4623-B098-BEC40FDB9FF5}" dt="2022-02-13T20:16:52.412" v="85" actId="478"/>
          <ac:spMkLst>
            <pc:docMk/>
            <pc:sldMk cId="1327046951" sldId="343"/>
            <ac:spMk id="4" creationId="{DC91F5E0-4E53-444F-98AA-0611C22413D4}"/>
          </ac:spMkLst>
        </pc:spChg>
        <pc:spChg chg="del">
          <ac:chgData name="Ronny Georgi" userId="516b13485727eb9a" providerId="LiveId" clId="{669F18A1-3183-4623-B098-BEC40FDB9FF5}" dt="2022-02-13T20:16:52.418" v="86" actId="478"/>
          <ac:spMkLst>
            <pc:docMk/>
            <pc:sldMk cId="1327046951" sldId="343"/>
            <ac:spMk id="23" creationId="{CC589996-0FDC-43B3-992B-6D915E0808EF}"/>
          </ac:spMkLst>
        </pc:spChg>
        <pc:spChg chg="mod ord replST">
          <ac:chgData name="Ronny Georgi" userId="516b13485727eb9a" providerId="LiveId" clId="{669F18A1-3183-4623-B098-BEC40FDB9FF5}" dt="2022-02-13T20:16:53.739" v="433"/>
          <ac:spMkLst>
            <pc:docMk/>
            <pc:sldMk cId="1327046951" sldId="343"/>
            <ac:spMk id="24" creationId="{D60F89D0-687F-4577-BB90-7C2A61BB16B1}"/>
          </ac:spMkLst>
        </pc:spChg>
        <pc:spChg chg="replST">
          <ac:chgData name="Ronny Georgi" userId="516b13485727eb9a" providerId="LiveId" clId="{669F18A1-3183-4623-B098-BEC40FDB9FF5}" dt="2022-02-13T20:16:53.600" v="389"/>
          <ac:spMkLst>
            <pc:docMk/>
            <pc:sldMk cId="1327046951" sldId="343"/>
            <ac:spMk id="25" creationId="{6A8CD3EA-D304-47E7-BBF7-1AB69A2A045A}"/>
          </ac:spMkLst>
        </pc:spChg>
        <pc:spChg chg="replST">
          <ac:chgData name="Ronny Georgi" userId="516b13485727eb9a" providerId="LiveId" clId="{669F18A1-3183-4623-B098-BEC40FDB9FF5}" dt="2022-02-13T20:16:53.609" v="392"/>
          <ac:spMkLst>
            <pc:docMk/>
            <pc:sldMk cId="1327046951" sldId="343"/>
            <ac:spMk id="26" creationId="{87C3DF33-3C88-45DF-A420-A8EBC5995A92}"/>
          </ac:spMkLst>
        </pc:spChg>
        <pc:spChg chg="replST">
          <ac:chgData name="Ronny Georgi" userId="516b13485727eb9a" providerId="LiveId" clId="{669F18A1-3183-4623-B098-BEC40FDB9FF5}" dt="2022-02-13T20:16:53.616" v="394"/>
          <ac:spMkLst>
            <pc:docMk/>
            <pc:sldMk cId="1327046951" sldId="343"/>
            <ac:spMk id="27" creationId="{F76116D0-8326-4209-A865-E843EC3A3627}"/>
          </ac:spMkLst>
        </pc:spChg>
        <pc:spChg chg="replST">
          <ac:chgData name="Ronny Georgi" userId="516b13485727eb9a" providerId="LiveId" clId="{669F18A1-3183-4623-B098-BEC40FDB9FF5}" dt="2022-02-13T20:16:53.620" v="397"/>
          <ac:spMkLst>
            <pc:docMk/>
            <pc:sldMk cId="1327046951" sldId="343"/>
            <ac:spMk id="28" creationId="{62EDE30B-9867-441D-A2DC-5641B9BF77A6}"/>
          </ac:spMkLst>
        </pc:spChg>
        <pc:spChg chg="replST">
          <ac:chgData name="Ronny Georgi" userId="516b13485727eb9a" providerId="LiveId" clId="{669F18A1-3183-4623-B098-BEC40FDB9FF5}" dt="2022-02-13T20:16:53.641" v="400"/>
          <ac:spMkLst>
            <pc:docMk/>
            <pc:sldMk cId="1327046951" sldId="343"/>
            <ac:spMk id="29" creationId="{3DB76C5F-2F1F-4311-9105-2534FD9904DF}"/>
          </ac:spMkLst>
        </pc:spChg>
        <pc:spChg chg="replST">
          <ac:chgData name="Ronny Georgi" userId="516b13485727eb9a" providerId="LiveId" clId="{669F18A1-3183-4623-B098-BEC40FDB9FF5}" dt="2022-02-13T20:16:53.648" v="402"/>
          <ac:spMkLst>
            <pc:docMk/>
            <pc:sldMk cId="1327046951" sldId="343"/>
            <ac:spMk id="30" creationId="{2708F61D-6B6C-4927-92EC-3CE3F00E00F9}"/>
          </ac:spMkLst>
        </pc:spChg>
        <pc:spChg chg="replST">
          <ac:chgData name="Ronny Georgi" userId="516b13485727eb9a" providerId="LiveId" clId="{669F18A1-3183-4623-B098-BEC40FDB9FF5}" dt="2022-02-13T20:16:53.654" v="405"/>
          <ac:spMkLst>
            <pc:docMk/>
            <pc:sldMk cId="1327046951" sldId="343"/>
            <ac:spMk id="31" creationId="{7DB29CA5-AF69-4768-8FE5-B1B92C1CC08A}"/>
          </ac:spMkLst>
        </pc:spChg>
        <pc:spChg chg="replST">
          <ac:chgData name="Ronny Georgi" userId="516b13485727eb9a" providerId="LiveId" clId="{669F18A1-3183-4623-B098-BEC40FDB9FF5}" dt="2022-02-13T20:16:53.663" v="408"/>
          <ac:spMkLst>
            <pc:docMk/>
            <pc:sldMk cId="1327046951" sldId="343"/>
            <ac:spMk id="32" creationId="{6D302440-9A07-40AC-8531-E4B0A228AC45}"/>
          </ac:spMkLst>
        </pc:spChg>
        <pc:spChg chg="replST">
          <ac:chgData name="Ronny Georgi" userId="516b13485727eb9a" providerId="LiveId" clId="{669F18A1-3183-4623-B098-BEC40FDB9FF5}" dt="2022-02-13T20:16:53.667" v="410"/>
          <ac:spMkLst>
            <pc:docMk/>
            <pc:sldMk cId="1327046951" sldId="343"/>
            <ac:spMk id="33" creationId="{27267DB3-1FAE-4A0D-B52A-F4A0B4EC4226}"/>
          </ac:spMkLst>
        </pc:spChg>
        <pc:spChg chg="replST">
          <ac:chgData name="Ronny Georgi" userId="516b13485727eb9a" providerId="LiveId" clId="{669F18A1-3183-4623-B098-BEC40FDB9FF5}" dt="2022-02-13T20:16:53.669" v="413"/>
          <ac:spMkLst>
            <pc:docMk/>
            <pc:sldMk cId="1327046951" sldId="343"/>
            <ac:spMk id="34" creationId="{0179D66B-48FB-4CB7-A60A-FED352D090B4}"/>
          </ac:spMkLst>
        </pc:spChg>
        <pc:spChg chg="replST">
          <ac:chgData name="Ronny Georgi" userId="516b13485727eb9a" providerId="LiveId" clId="{669F18A1-3183-4623-B098-BEC40FDB9FF5}" dt="2022-02-13T20:16:53.688" v="415"/>
          <ac:spMkLst>
            <pc:docMk/>
            <pc:sldMk cId="1327046951" sldId="343"/>
            <ac:spMk id="35" creationId="{8169586B-C282-4864-AC25-B226FD9F5AB6}"/>
          </ac:spMkLst>
        </pc:spChg>
        <pc:spChg chg="replST">
          <ac:chgData name="Ronny Georgi" userId="516b13485727eb9a" providerId="LiveId" clId="{669F18A1-3183-4623-B098-BEC40FDB9FF5}" dt="2022-02-13T20:16:53.695" v="417"/>
          <ac:spMkLst>
            <pc:docMk/>
            <pc:sldMk cId="1327046951" sldId="343"/>
            <ac:spMk id="36" creationId="{524D8CEB-D7EB-463D-B572-8508EDC701ED}"/>
          </ac:spMkLst>
        </pc:spChg>
        <pc:spChg chg="replST">
          <ac:chgData name="Ronny Georgi" userId="516b13485727eb9a" providerId="LiveId" clId="{669F18A1-3183-4623-B098-BEC40FDB9FF5}" dt="2022-02-13T20:16:53.701" v="420"/>
          <ac:spMkLst>
            <pc:docMk/>
            <pc:sldMk cId="1327046951" sldId="343"/>
            <ac:spMk id="37" creationId="{90814320-FC63-42B2-B156-F6893D1B22C8}"/>
          </ac:spMkLst>
        </pc:spChg>
        <pc:spChg chg="replST">
          <ac:chgData name="Ronny Georgi" userId="516b13485727eb9a" providerId="LiveId" clId="{669F18A1-3183-4623-B098-BEC40FDB9FF5}" dt="2022-02-13T20:16:53.716" v="422"/>
          <ac:spMkLst>
            <pc:docMk/>
            <pc:sldMk cId="1327046951" sldId="343"/>
            <ac:spMk id="38" creationId="{4785421E-3C72-4946-A1EA-6766116E6EEE}"/>
          </ac:spMkLst>
        </pc:spChg>
        <pc:spChg chg="replST">
          <ac:chgData name="Ronny Georgi" userId="516b13485727eb9a" providerId="LiveId" clId="{669F18A1-3183-4623-B098-BEC40FDB9FF5}" dt="2022-02-13T20:16:53.721" v="424"/>
          <ac:spMkLst>
            <pc:docMk/>
            <pc:sldMk cId="1327046951" sldId="343"/>
            <ac:spMk id="39" creationId="{F32A6904-5533-47DF-BDED-02DBD406C5A0}"/>
          </ac:spMkLst>
        </pc:spChg>
        <pc:spChg chg="replST">
          <ac:chgData name="Ronny Georgi" userId="516b13485727eb9a" providerId="LiveId" clId="{669F18A1-3183-4623-B098-BEC40FDB9FF5}" dt="2022-02-13T20:16:53.725" v="427"/>
          <ac:spMkLst>
            <pc:docMk/>
            <pc:sldMk cId="1327046951" sldId="343"/>
            <ac:spMk id="40" creationId="{42F81116-F2ED-4539-BA6B-D5CE7AAC9095}"/>
          </ac:spMkLst>
        </pc:spChg>
        <pc:spChg chg="replST">
          <ac:chgData name="Ronny Georgi" userId="516b13485727eb9a" providerId="LiveId" clId="{669F18A1-3183-4623-B098-BEC40FDB9FF5}" dt="2022-02-13T20:16:53.733" v="429"/>
          <ac:spMkLst>
            <pc:docMk/>
            <pc:sldMk cId="1327046951" sldId="343"/>
            <ac:spMk id="41" creationId="{5F654673-6D8B-41D8-AD8C-72C9EC6CA6FF}"/>
          </ac:spMkLst>
        </pc:spChg>
        <pc:spChg chg="replST">
          <ac:chgData name="Ronny Georgi" userId="516b13485727eb9a" providerId="LiveId" clId="{669F18A1-3183-4623-B098-BEC40FDB9FF5}" dt="2022-02-13T20:16:53.736" v="431"/>
          <ac:spMkLst>
            <pc:docMk/>
            <pc:sldMk cId="1327046951" sldId="343"/>
            <ac:spMk id="42" creationId="{0C4EF015-8654-4CBA-9018-120B69CE34FF}"/>
          </ac:spMkLst>
        </pc:spChg>
        <pc:spChg chg="ord replST">
          <ac:chgData name="Ronny Georgi" userId="516b13485727eb9a" providerId="LiveId" clId="{669F18A1-3183-4623-B098-BEC40FDB9FF5}" dt="2022-02-13T20:16:53.744" v="434"/>
          <ac:spMkLst>
            <pc:docMk/>
            <pc:sldMk cId="1327046951" sldId="343"/>
            <ac:spMk id="43" creationId="{B70D7EED-E938-4436-B618-1CA4C948B118}"/>
          </ac:spMkLst>
        </pc:spChg>
      </pc:sldChg>
      <pc:sldChg chg="delSp modSp del mod">
        <pc:chgData name="Ronny Georgi" userId="516b13485727eb9a" providerId="LiveId" clId="{669F18A1-3183-4623-B098-BEC40FDB9FF5}" dt="2022-02-13T20:16:53.777" v="442" actId="2696"/>
        <pc:sldMkLst>
          <pc:docMk/>
          <pc:sldMk cId="2194338244" sldId="345"/>
        </pc:sldMkLst>
        <pc:spChg chg="del">
          <ac:chgData name="Ronny Georgi" userId="516b13485727eb9a" providerId="LiveId" clId="{669F18A1-3183-4623-B098-BEC40FDB9FF5}" dt="2022-02-13T20:16:53.774" v="440" actId="478"/>
          <ac:spMkLst>
            <pc:docMk/>
            <pc:sldMk cId="2194338244" sldId="345"/>
            <ac:spMk id="5" creationId="{1595941E-F4D0-4E1D-A419-528B4605CF03}"/>
          </ac:spMkLst>
        </pc:spChg>
        <pc:spChg chg="mod">
          <ac:chgData name="Ronny Georgi" userId="516b13485727eb9a" providerId="LiveId" clId="{669F18A1-3183-4623-B098-BEC40FDB9FF5}" dt="2022-02-13T20:16:50.863" v="1" actId="207"/>
          <ac:spMkLst>
            <pc:docMk/>
            <pc:sldMk cId="2194338244" sldId="345"/>
            <ac:spMk id="7" creationId="{9391351C-E2DC-4C0B-BD24-521C720988AC}"/>
          </ac:spMkLst>
        </pc:spChg>
        <pc:spChg chg="mod modVis">
          <ac:chgData name="Ronny Georgi" userId="516b13485727eb9a" providerId="LiveId" clId="{669F18A1-3183-4623-B098-BEC40FDB9FF5}" dt="2022-02-13T20:16:51.013" v="2" actId="962"/>
          <ac:spMkLst>
            <pc:docMk/>
            <pc:sldMk cId="2194338244" sldId="345"/>
            <ac:spMk id="9" creationId="{FC068D7E-6B71-4802-922C-68314ABA940B}"/>
          </ac:spMkLst>
        </pc:spChg>
        <pc:spChg chg="mod modVis">
          <ac:chgData name="Ronny Georgi" userId="516b13485727eb9a" providerId="LiveId" clId="{669F18A1-3183-4623-B098-BEC40FDB9FF5}" dt="2022-02-13T20:16:51.035" v="3" actId="962"/>
          <ac:spMkLst>
            <pc:docMk/>
            <pc:sldMk cId="2194338244" sldId="345"/>
            <ac:spMk id="10" creationId="{A9CCE0C4-1D56-4C7B-9D27-07B08D18931A}"/>
          </ac:spMkLst>
        </pc:spChg>
        <pc:spChg chg="mod modVis">
          <ac:chgData name="Ronny Georgi" userId="516b13485727eb9a" providerId="LiveId" clId="{669F18A1-3183-4623-B098-BEC40FDB9FF5}" dt="2022-02-13T20:16:51.053" v="4" actId="962"/>
          <ac:spMkLst>
            <pc:docMk/>
            <pc:sldMk cId="2194338244" sldId="345"/>
            <ac:spMk id="11" creationId="{5BEE0B3E-594C-4BBE-9B10-38F8FFCD0199}"/>
          </ac:spMkLst>
        </pc:spChg>
        <pc:spChg chg="mod modVis">
          <ac:chgData name="Ronny Georgi" userId="516b13485727eb9a" providerId="LiveId" clId="{669F18A1-3183-4623-B098-BEC40FDB9FF5}" dt="2022-02-13T20:16:51.082" v="5" actId="962"/>
          <ac:spMkLst>
            <pc:docMk/>
            <pc:sldMk cId="2194338244" sldId="345"/>
            <ac:spMk id="12" creationId="{5BBF59BF-9629-4968-B1D7-9EF5C9D8D43C}"/>
          </ac:spMkLst>
        </pc:spChg>
        <pc:spChg chg="mod modVis">
          <ac:chgData name="Ronny Georgi" userId="516b13485727eb9a" providerId="LiveId" clId="{669F18A1-3183-4623-B098-BEC40FDB9FF5}" dt="2022-02-13T20:16:51.099" v="6" actId="962"/>
          <ac:spMkLst>
            <pc:docMk/>
            <pc:sldMk cId="2194338244" sldId="345"/>
            <ac:spMk id="13" creationId="{0ED876F3-5668-40EB-ABBA-D1352C3225FA}"/>
          </ac:spMkLst>
        </pc:spChg>
        <pc:spChg chg="mod modVis">
          <ac:chgData name="Ronny Georgi" userId="516b13485727eb9a" providerId="LiveId" clId="{669F18A1-3183-4623-B098-BEC40FDB9FF5}" dt="2022-02-13T20:16:51.118" v="7" actId="962"/>
          <ac:spMkLst>
            <pc:docMk/>
            <pc:sldMk cId="2194338244" sldId="345"/>
            <ac:spMk id="14" creationId="{5A57BE9C-FB87-4033-B624-64E76A494D9C}"/>
          </ac:spMkLst>
        </pc:spChg>
        <pc:spChg chg="mod modVis">
          <ac:chgData name="Ronny Georgi" userId="516b13485727eb9a" providerId="LiveId" clId="{669F18A1-3183-4623-B098-BEC40FDB9FF5}" dt="2022-02-13T20:16:51.143" v="8" actId="962"/>
          <ac:spMkLst>
            <pc:docMk/>
            <pc:sldMk cId="2194338244" sldId="345"/>
            <ac:spMk id="15" creationId="{229E9F3F-F1DA-4EB1-97F3-2EAB8EF5734C}"/>
          </ac:spMkLst>
        </pc:spChg>
        <pc:spChg chg="mod modVis">
          <ac:chgData name="Ronny Georgi" userId="516b13485727eb9a" providerId="LiveId" clId="{669F18A1-3183-4623-B098-BEC40FDB9FF5}" dt="2022-02-13T20:16:51.154" v="9" actId="962"/>
          <ac:spMkLst>
            <pc:docMk/>
            <pc:sldMk cId="2194338244" sldId="345"/>
            <ac:spMk id="16" creationId="{3B9B61EE-105A-4F3E-9678-375E78DA64DA}"/>
          </ac:spMkLst>
        </pc:spChg>
        <pc:spChg chg="mod modVis">
          <ac:chgData name="Ronny Georgi" userId="516b13485727eb9a" providerId="LiveId" clId="{669F18A1-3183-4623-B098-BEC40FDB9FF5}" dt="2022-02-13T20:16:51.167" v="10" actId="962"/>
          <ac:spMkLst>
            <pc:docMk/>
            <pc:sldMk cId="2194338244" sldId="345"/>
            <ac:spMk id="17" creationId="{BAB62CE4-035D-4DA6-BD9A-4A814E76AB28}"/>
          </ac:spMkLst>
        </pc:spChg>
        <pc:spChg chg="mod modVis">
          <ac:chgData name="Ronny Georgi" userId="516b13485727eb9a" providerId="LiveId" clId="{669F18A1-3183-4623-B098-BEC40FDB9FF5}" dt="2022-02-13T20:16:51.170" v="11" actId="962"/>
          <ac:spMkLst>
            <pc:docMk/>
            <pc:sldMk cId="2194338244" sldId="345"/>
            <ac:spMk id="18" creationId="{4149CD54-8F9D-48C2-891F-579570987068}"/>
          </ac:spMkLst>
        </pc:spChg>
        <pc:spChg chg="mod modVis">
          <ac:chgData name="Ronny Georgi" userId="516b13485727eb9a" providerId="LiveId" clId="{669F18A1-3183-4623-B098-BEC40FDB9FF5}" dt="2022-02-13T20:16:51.185" v="12" actId="962"/>
          <ac:spMkLst>
            <pc:docMk/>
            <pc:sldMk cId="2194338244" sldId="345"/>
            <ac:spMk id="19" creationId="{DDCFEFC0-3A07-4D58-9E58-1F1C4937109C}"/>
          </ac:spMkLst>
        </pc:spChg>
        <pc:spChg chg="mod modVis">
          <ac:chgData name="Ronny Georgi" userId="516b13485727eb9a" providerId="LiveId" clId="{669F18A1-3183-4623-B098-BEC40FDB9FF5}" dt="2022-02-13T20:16:51.193" v="13" actId="962"/>
          <ac:spMkLst>
            <pc:docMk/>
            <pc:sldMk cId="2194338244" sldId="345"/>
            <ac:spMk id="20" creationId="{629B7E98-8D94-4E20-88AC-D8379C76FA62}"/>
          </ac:spMkLst>
        </pc:spChg>
        <pc:spChg chg="mod modVis">
          <ac:chgData name="Ronny Georgi" userId="516b13485727eb9a" providerId="LiveId" clId="{669F18A1-3183-4623-B098-BEC40FDB9FF5}" dt="2022-02-13T20:16:51.207" v="14" actId="962"/>
          <ac:spMkLst>
            <pc:docMk/>
            <pc:sldMk cId="2194338244" sldId="345"/>
            <ac:spMk id="21" creationId="{DEF79A3D-9310-4B3B-897F-6A3ACB3CFD12}"/>
          </ac:spMkLst>
        </pc:spChg>
        <pc:spChg chg="mod modVis">
          <ac:chgData name="Ronny Georgi" userId="516b13485727eb9a" providerId="LiveId" clId="{669F18A1-3183-4623-B098-BEC40FDB9FF5}" dt="2022-02-13T20:16:51.223" v="15" actId="962"/>
          <ac:spMkLst>
            <pc:docMk/>
            <pc:sldMk cId="2194338244" sldId="345"/>
            <ac:spMk id="22" creationId="{30543D3D-ACA0-493A-B776-517EC111D2AB}"/>
          </ac:spMkLst>
        </pc:spChg>
        <pc:spChg chg="mod modVis">
          <ac:chgData name="Ronny Georgi" userId="516b13485727eb9a" providerId="LiveId" clId="{669F18A1-3183-4623-B098-BEC40FDB9FF5}" dt="2022-02-13T20:16:51.259" v="16" actId="962"/>
          <ac:spMkLst>
            <pc:docMk/>
            <pc:sldMk cId="2194338244" sldId="345"/>
            <ac:spMk id="23" creationId="{61A90522-2ED6-4604-8C41-49AD6CE67B9A}"/>
          </ac:spMkLst>
        </pc:spChg>
        <pc:spChg chg="mod modVis">
          <ac:chgData name="Ronny Georgi" userId="516b13485727eb9a" providerId="LiveId" clId="{669F18A1-3183-4623-B098-BEC40FDB9FF5}" dt="2022-02-13T20:16:51.275" v="17" actId="962"/>
          <ac:spMkLst>
            <pc:docMk/>
            <pc:sldMk cId="2194338244" sldId="345"/>
            <ac:spMk id="24" creationId="{8787FFA2-DBBB-46D7-8E7B-004C08629CE7}"/>
          </ac:spMkLst>
        </pc:spChg>
        <pc:spChg chg="mod modVis">
          <ac:chgData name="Ronny Georgi" userId="516b13485727eb9a" providerId="LiveId" clId="{669F18A1-3183-4623-B098-BEC40FDB9FF5}" dt="2022-02-13T20:16:51.293" v="18" actId="962"/>
          <ac:spMkLst>
            <pc:docMk/>
            <pc:sldMk cId="2194338244" sldId="345"/>
            <ac:spMk id="25" creationId="{D0AF3F52-1CF7-4695-9133-62A4AF19A901}"/>
          </ac:spMkLst>
        </pc:spChg>
        <pc:spChg chg="mod modVis">
          <ac:chgData name="Ronny Georgi" userId="516b13485727eb9a" providerId="LiveId" clId="{669F18A1-3183-4623-B098-BEC40FDB9FF5}" dt="2022-02-13T20:16:51.319" v="19" actId="962"/>
          <ac:spMkLst>
            <pc:docMk/>
            <pc:sldMk cId="2194338244" sldId="345"/>
            <ac:spMk id="26" creationId="{1D2FA347-59A2-4606-98FD-FA8D3AEA95EB}"/>
          </ac:spMkLst>
        </pc:spChg>
        <pc:spChg chg="mod modVis">
          <ac:chgData name="Ronny Georgi" userId="516b13485727eb9a" providerId="LiveId" clId="{669F18A1-3183-4623-B098-BEC40FDB9FF5}" dt="2022-02-13T20:16:51.332" v="20" actId="962"/>
          <ac:spMkLst>
            <pc:docMk/>
            <pc:sldMk cId="2194338244" sldId="345"/>
            <ac:spMk id="27" creationId="{524EE88A-67B9-46EC-AE4A-29160416E3BD}"/>
          </ac:spMkLst>
        </pc:spChg>
        <pc:spChg chg="mod modVis">
          <ac:chgData name="Ronny Georgi" userId="516b13485727eb9a" providerId="LiveId" clId="{669F18A1-3183-4623-B098-BEC40FDB9FF5}" dt="2022-02-13T20:16:51.351" v="21" actId="962"/>
          <ac:spMkLst>
            <pc:docMk/>
            <pc:sldMk cId="2194338244" sldId="345"/>
            <ac:spMk id="28" creationId="{61AD8FC9-2364-4E06-94A0-40A43DCFC55C}"/>
          </ac:spMkLst>
        </pc:spChg>
        <pc:spChg chg="mod modVis">
          <ac:chgData name="Ronny Georgi" userId="516b13485727eb9a" providerId="LiveId" clId="{669F18A1-3183-4623-B098-BEC40FDB9FF5}" dt="2022-02-13T20:16:51.371" v="22" actId="962"/>
          <ac:spMkLst>
            <pc:docMk/>
            <pc:sldMk cId="2194338244" sldId="345"/>
            <ac:spMk id="29" creationId="{F0CE4CDF-A071-4346-B351-1A5957D1FD35}"/>
          </ac:spMkLst>
        </pc:spChg>
        <pc:spChg chg="mod modVis">
          <ac:chgData name="Ronny Georgi" userId="516b13485727eb9a" providerId="LiveId" clId="{669F18A1-3183-4623-B098-BEC40FDB9FF5}" dt="2022-02-13T20:16:51.375" v="23" actId="962"/>
          <ac:spMkLst>
            <pc:docMk/>
            <pc:sldMk cId="2194338244" sldId="345"/>
            <ac:spMk id="30" creationId="{B13D71CF-23BC-493B-95C7-3988F25A1BD3}"/>
          </ac:spMkLst>
        </pc:spChg>
        <pc:spChg chg="mod modVis">
          <ac:chgData name="Ronny Georgi" userId="516b13485727eb9a" providerId="LiveId" clId="{669F18A1-3183-4623-B098-BEC40FDB9FF5}" dt="2022-02-13T20:16:51.386" v="24" actId="962"/>
          <ac:spMkLst>
            <pc:docMk/>
            <pc:sldMk cId="2194338244" sldId="345"/>
            <ac:spMk id="31" creationId="{5B7B05A7-5AA1-45F3-A934-4EE3A1849CF0}"/>
          </ac:spMkLst>
        </pc:spChg>
        <pc:spChg chg="mod modVis">
          <ac:chgData name="Ronny Georgi" userId="516b13485727eb9a" providerId="LiveId" clId="{669F18A1-3183-4623-B098-BEC40FDB9FF5}" dt="2022-02-13T20:16:51.389" v="25" actId="962"/>
          <ac:spMkLst>
            <pc:docMk/>
            <pc:sldMk cId="2194338244" sldId="345"/>
            <ac:spMk id="32" creationId="{715CA964-0198-40C3-934D-0D60D214974C}"/>
          </ac:spMkLst>
        </pc:spChg>
        <pc:spChg chg="mod modVis">
          <ac:chgData name="Ronny Georgi" userId="516b13485727eb9a" providerId="LiveId" clId="{669F18A1-3183-4623-B098-BEC40FDB9FF5}" dt="2022-02-13T20:16:51.410" v="26" actId="962"/>
          <ac:spMkLst>
            <pc:docMk/>
            <pc:sldMk cId="2194338244" sldId="345"/>
            <ac:spMk id="33" creationId="{29969305-0F2B-4ADF-98C3-BE310C522552}"/>
          </ac:spMkLst>
        </pc:spChg>
        <pc:spChg chg="mod modVis">
          <ac:chgData name="Ronny Georgi" userId="516b13485727eb9a" providerId="LiveId" clId="{669F18A1-3183-4623-B098-BEC40FDB9FF5}" dt="2022-02-13T20:16:51.429" v="27" actId="962"/>
          <ac:spMkLst>
            <pc:docMk/>
            <pc:sldMk cId="2194338244" sldId="345"/>
            <ac:spMk id="34" creationId="{4F7E8665-FF00-4EF7-8DCD-812F2517F12F}"/>
          </ac:spMkLst>
        </pc:spChg>
        <pc:spChg chg="mod modVis">
          <ac:chgData name="Ronny Georgi" userId="516b13485727eb9a" providerId="LiveId" clId="{669F18A1-3183-4623-B098-BEC40FDB9FF5}" dt="2022-02-13T20:16:51.450" v="28" actId="962"/>
          <ac:spMkLst>
            <pc:docMk/>
            <pc:sldMk cId="2194338244" sldId="345"/>
            <ac:spMk id="35" creationId="{EC2FFBE1-C1AF-45F0-8583-E10652BB5A0C}"/>
          </ac:spMkLst>
        </pc:spChg>
        <pc:spChg chg="mod modVis">
          <ac:chgData name="Ronny Georgi" userId="516b13485727eb9a" providerId="LiveId" clId="{669F18A1-3183-4623-B098-BEC40FDB9FF5}" dt="2022-02-13T20:16:51.470" v="29" actId="962"/>
          <ac:spMkLst>
            <pc:docMk/>
            <pc:sldMk cId="2194338244" sldId="345"/>
            <ac:spMk id="36" creationId="{319BC4EA-A3D1-49F4-B87E-A1E4C59252E0}"/>
          </ac:spMkLst>
        </pc:spChg>
        <pc:spChg chg="mod modVis">
          <ac:chgData name="Ronny Georgi" userId="516b13485727eb9a" providerId="LiveId" clId="{669F18A1-3183-4623-B098-BEC40FDB9FF5}" dt="2022-02-13T20:16:51.488" v="30" actId="962"/>
          <ac:spMkLst>
            <pc:docMk/>
            <pc:sldMk cId="2194338244" sldId="345"/>
            <ac:spMk id="37" creationId="{D2F67F2F-EC0C-4429-8346-6F79BBF2AB1A}"/>
          </ac:spMkLst>
        </pc:spChg>
        <pc:spChg chg="mod modVis">
          <ac:chgData name="Ronny Georgi" userId="516b13485727eb9a" providerId="LiveId" clId="{669F18A1-3183-4623-B098-BEC40FDB9FF5}" dt="2022-02-13T20:16:51.509" v="31" actId="962"/>
          <ac:spMkLst>
            <pc:docMk/>
            <pc:sldMk cId="2194338244" sldId="345"/>
            <ac:spMk id="38" creationId="{5763A52C-CA2F-45F8-8442-47F7F08223D4}"/>
          </ac:spMkLst>
        </pc:spChg>
        <pc:spChg chg="mod modVis">
          <ac:chgData name="Ronny Georgi" userId="516b13485727eb9a" providerId="LiveId" clId="{669F18A1-3183-4623-B098-BEC40FDB9FF5}" dt="2022-02-13T20:16:51.521" v="32" actId="962"/>
          <ac:spMkLst>
            <pc:docMk/>
            <pc:sldMk cId="2194338244" sldId="345"/>
            <ac:spMk id="39" creationId="{A3CFE18F-1E4D-4A37-A0BB-8AD9626EBA62}"/>
          </ac:spMkLst>
        </pc:spChg>
        <pc:spChg chg="mod modVis">
          <ac:chgData name="Ronny Georgi" userId="516b13485727eb9a" providerId="LiveId" clId="{669F18A1-3183-4623-B098-BEC40FDB9FF5}" dt="2022-02-13T20:16:51.542" v="33" actId="962"/>
          <ac:spMkLst>
            <pc:docMk/>
            <pc:sldMk cId="2194338244" sldId="345"/>
            <ac:spMk id="40" creationId="{21556EF2-8C00-415E-BA83-2A7D6B71A7C3}"/>
          </ac:spMkLst>
        </pc:spChg>
        <pc:spChg chg="mod modVis">
          <ac:chgData name="Ronny Georgi" userId="516b13485727eb9a" providerId="LiveId" clId="{669F18A1-3183-4623-B098-BEC40FDB9FF5}" dt="2022-02-13T20:16:51.555" v="34" actId="962"/>
          <ac:spMkLst>
            <pc:docMk/>
            <pc:sldMk cId="2194338244" sldId="345"/>
            <ac:spMk id="41" creationId="{4998EE9E-664D-4584-845E-46BB1906D9F6}"/>
          </ac:spMkLst>
        </pc:spChg>
        <pc:spChg chg="mod modVis">
          <ac:chgData name="Ronny Georgi" userId="516b13485727eb9a" providerId="LiveId" clId="{669F18A1-3183-4623-B098-BEC40FDB9FF5}" dt="2022-02-13T20:16:51.559" v="35" actId="962"/>
          <ac:spMkLst>
            <pc:docMk/>
            <pc:sldMk cId="2194338244" sldId="345"/>
            <ac:spMk id="42" creationId="{6A986A56-3DC3-4A5C-99A9-9976DC18A4D5}"/>
          </ac:spMkLst>
        </pc:spChg>
        <pc:spChg chg="mod modVis">
          <ac:chgData name="Ronny Georgi" userId="516b13485727eb9a" providerId="LiveId" clId="{669F18A1-3183-4623-B098-BEC40FDB9FF5}" dt="2022-02-13T20:16:51.567" v="36" actId="962"/>
          <ac:spMkLst>
            <pc:docMk/>
            <pc:sldMk cId="2194338244" sldId="345"/>
            <ac:spMk id="43" creationId="{434C928A-C9B1-40E3-A193-0FAEC8B3EFEE}"/>
          </ac:spMkLst>
        </pc:spChg>
        <pc:spChg chg="mod modVis">
          <ac:chgData name="Ronny Georgi" userId="516b13485727eb9a" providerId="LiveId" clId="{669F18A1-3183-4623-B098-BEC40FDB9FF5}" dt="2022-02-13T20:16:51.571" v="37" actId="962"/>
          <ac:spMkLst>
            <pc:docMk/>
            <pc:sldMk cId="2194338244" sldId="345"/>
            <ac:spMk id="44" creationId="{3C0A3886-11BC-491D-8D82-3AFF7FA752CE}"/>
          </ac:spMkLst>
        </pc:spChg>
        <pc:spChg chg="mod modVis">
          <ac:chgData name="Ronny Georgi" userId="516b13485727eb9a" providerId="LiveId" clId="{669F18A1-3183-4623-B098-BEC40FDB9FF5}" dt="2022-02-13T20:16:51.588" v="38" actId="962"/>
          <ac:spMkLst>
            <pc:docMk/>
            <pc:sldMk cId="2194338244" sldId="345"/>
            <ac:spMk id="45" creationId="{9B3729D0-F380-44D0-BEA9-AB9001A34072}"/>
          </ac:spMkLst>
        </pc:spChg>
        <pc:spChg chg="mod modVis">
          <ac:chgData name="Ronny Georgi" userId="516b13485727eb9a" providerId="LiveId" clId="{669F18A1-3183-4623-B098-BEC40FDB9FF5}" dt="2022-02-13T20:16:51.605" v="39" actId="962"/>
          <ac:spMkLst>
            <pc:docMk/>
            <pc:sldMk cId="2194338244" sldId="345"/>
            <ac:spMk id="46" creationId="{7DC3DDAB-5C22-4037-8B38-B618D50BF42C}"/>
          </ac:spMkLst>
        </pc:spChg>
        <pc:spChg chg="mod modVis">
          <ac:chgData name="Ronny Georgi" userId="516b13485727eb9a" providerId="LiveId" clId="{669F18A1-3183-4623-B098-BEC40FDB9FF5}" dt="2022-02-13T20:16:51.619" v="40" actId="962"/>
          <ac:spMkLst>
            <pc:docMk/>
            <pc:sldMk cId="2194338244" sldId="345"/>
            <ac:spMk id="47" creationId="{2957E6D2-AE9A-4D31-A82F-786367D8CFC2}"/>
          </ac:spMkLst>
        </pc:spChg>
        <pc:spChg chg="mod modVis">
          <ac:chgData name="Ronny Georgi" userId="516b13485727eb9a" providerId="LiveId" clId="{669F18A1-3183-4623-B098-BEC40FDB9FF5}" dt="2022-02-13T20:16:51.646" v="41" actId="962"/>
          <ac:spMkLst>
            <pc:docMk/>
            <pc:sldMk cId="2194338244" sldId="345"/>
            <ac:spMk id="48" creationId="{7BCB1528-43FC-467D-9B2B-AB9214962205}"/>
          </ac:spMkLst>
        </pc:spChg>
        <pc:spChg chg="mod modVis">
          <ac:chgData name="Ronny Georgi" userId="516b13485727eb9a" providerId="LiveId" clId="{669F18A1-3183-4623-B098-BEC40FDB9FF5}" dt="2022-02-13T20:16:51.664" v="42" actId="962"/>
          <ac:spMkLst>
            <pc:docMk/>
            <pc:sldMk cId="2194338244" sldId="345"/>
            <ac:spMk id="49" creationId="{E08446B2-AE3D-4928-B0CF-C25EECBAD067}"/>
          </ac:spMkLst>
        </pc:spChg>
        <pc:spChg chg="mod modVis">
          <ac:chgData name="Ronny Georgi" userId="516b13485727eb9a" providerId="LiveId" clId="{669F18A1-3183-4623-B098-BEC40FDB9FF5}" dt="2022-02-13T20:16:51.667" v="43" actId="962"/>
          <ac:spMkLst>
            <pc:docMk/>
            <pc:sldMk cId="2194338244" sldId="345"/>
            <ac:spMk id="50" creationId="{E10BA944-1691-478C-A9E2-F2FEE943000C}"/>
          </ac:spMkLst>
        </pc:spChg>
        <pc:spChg chg="mod modVis">
          <ac:chgData name="Ronny Georgi" userId="516b13485727eb9a" providerId="LiveId" clId="{669F18A1-3183-4623-B098-BEC40FDB9FF5}" dt="2022-02-13T20:16:51.693" v="44" actId="962"/>
          <ac:spMkLst>
            <pc:docMk/>
            <pc:sldMk cId="2194338244" sldId="345"/>
            <ac:spMk id="51" creationId="{E7208354-F8A3-4560-A185-43B3E9FD6E09}"/>
          </ac:spMkLst>
        </pc:spChg>
        <pc:spChg chg="mod modVis">
          <ac:chgData name="Ronny Georgi" userId="516b13485727eb9a" providerId="LiveId" clId="{669F18A1-3183-4623-B098-BEC40FDB9FF5}" dt="2022-02-13T20:16:51.698" v="45" actId="962"/>
          <ac:spMkLst>
            <pc:docMk/>
            <pc:sldMk cId="2194338244" sldId="345"/>
            <ac:spMk id="52" creationId="{313ED3FF-5E57-4158-9AF9-365B6E696D3B}"/>
          </ac:spMkLst>
        </pc:spChg>
        <pc:spChg chg="mod modVis">
          <ac:chgData name="Ronny Georgi" userId="516b13485727eb9a" providerId="LiveId" clId="{669F18A1-3183-4623-B098-BEC40FDB9FF5}" dt="2022-02-13T20:16:51.710" v="46" actId="962"/>
          <ac:spMkLst>
            <pc:docMk/>
            <pc:sldMk cId="2194338244" sldId="345"/>
            <ac:spMk id="53" creationId="{A548BF54-FACD-4372-B301-2C863B188838}"/>
          </ac:spMkLst>
        </pc:spChg>
        <pc:spChg chg="mod modVis">
          <ac:chgData name="Ronny Georgi" userId="516b13485727eb9a" providerId="LiveId" clId="{669F18A1-3183-4623-B098-BEC40FDB9FF5}" dt="2022-02-13T20:16:51.714" v="47" actId="962"/>
          <ac:spMkLst>
            <pc:docMk/>
            <pc:sldMk cId="2194338244" sldId="345"/>
            <ac:spMk id="54" creationId="{0F7ADF8D-7015-44BE-B579-DFCAA71B46D7}"/>
          </ac:spMkLst>
        </pc:spChg>
        <pc:spChg chg="mod modVis">
          <ac:chgData name="Ronny Georgi" userId="516b13485727eb9a" providerId="LiveId" clId="{669F18A1-3183-4623-B098-BEC40FDB9FF5}" dt="2022-02-13T20:16:51.730" v="48" actId="962"/>
          <ac:spMkLst>
            <pc:docMk/>
            <pc:sldMk cId="2194338244" sldId="345"/>
            <ac:spMk id="55" creationId="{B94878F8-FDBC-4D48-AF7C-CE795E7B9FA8}"/>
          </ac:spMkLst>
        </pc:spChg>
        <pc:spChg chg="mod modVis">
          <ac:chgData name="Ronny Georgi" userId="516b13485727eb9a" providerId="LiveId" clId="{669F18A1-3183-4623-B098-BEC40FDB9FF5}" dt="2022-02-13T20:16:51.737" v="49" actId="962"/>
          <ac:spMkLst>
            <pc:docMk/>
            <pc:sldMk cId="2194338244" sldId="345"/>
            <ac:spMk id="56" creationId="{7E483727-C762-4EE2-8EEC-3FC2A0EE3064}"/>
          </ac:spMkLst>
        </pc:spChg>
        <pc:spChg chg="mod modVis">
          <ac:chgData name="Ronny Georgi" userId="516b13485727eb9a" providerId="LiveId" clId="{669F18A1-3183-4623-B098-BEC40FDB9FF5}" dt="2022-02-13T20:16:51.749" v="50" actId="962"/>
          <ac:spMkLst>
            <pc:docMk/>
            <pc:sldMk cId="2194338244" sldId="345"/>
            <ac:spMk id="57" creationId="{EBEE11DF-FA03-408E-8994-483CCB2F7C11}"/>
          </ac:spMkLst>
        </pc:spChg>
        <pc:spChg chg="mod modVis">
          <ac:chgData name="Ronny Georgi" userId="516b13485727eb9a" providerId="LiveId" clId="{669F18A1-3183-4623-B098-BEC40FDB9FF5}" dt="2022-02-13T20:16:51.766" v="51" actId="962"/>
          <ac:spMkLst>
            <pc:docMk/>
            <pc:sldMk cId="2194338244" sldId="345"/>
            <ac:spMk id="58" creationId="{BB311DEE-5CB9-4968-8D08-224A620441BB}"/>
          </ac:spMkLst>
        </pc:spChg>
        <pc:spChg chg="mod modVis">
          <ac:chgData name="Ronny Georgi" userId="516b13485727eb9a" providerId="LiveId" clId="{669F18A1-3183-4623-B098-BEC40FDB9FF5}" dt="2022-02-13T20:16:51.802" v="52" actId="962"/>
          <ac:spMkLst>
            <pc:docMk/>
            <pc:sldMk cId="2194338244" sldId="345"/>
            <ac:spMk id="59" creationId="{98673099-262B-4E4B-B468-282F127E8CEC}"/>
          </ac:spMkLst>
        </pc:spChg>
        <pc:spChg chg="mod modVis">
          <ac:chgData name="Ronny Georgi" userId="516b13485727eb9a" providerId="LiveId" clId="{669F18A1-3183-4623-B098-BEC40FDB9FF5}" dt="2022-02-13T20:16:51.817" v="53" actId="962"/>
          <ac:spMkLst>
            <pc:docMk/>
            <pc:sldMk cId="2194338244" sldId="345"/>
            <ac:spMk id="60" creationId="{0D6410F0-8D16-4FD1-B9C1-DA4B2321B068}"/>
          </ac:spMkLst>
        </pc:spChg>
        <pc:spChg chg="mod modVis">
          <ac:chgData name="Ronny Georgi" userId="516b13485727eb9a" providerId="LiveId" clId="{669F18A1-3183-4623-B098-BEC40FDB9FF5}" dt="2022-02-13T20:16:51.842" v="54" actId="962"/>
          <ac:spMkLst>
            <pc:docMk/>
            <pc:sldMk cId="2194338244" sldId="345"/>
            <ac:spMk id="61" creationId="{096C0CCF-A78A-46CA-A445-3E226A2F7E45}"/>
          </ac:spMkLst>
        </pc:spChg>
        <pc:spChg chg="mod modVis">
          <ac:chgData name="Ronny Georgi" userId="516b13485727eb9a" providerId="LiveId" clId="{669F18A1-3183-4623-B098-BEC40FDB9FF5}" dt="2022-02-13T20:16:51.850" v="55" actId="962"/>
          <ac:spMkLst>
            <pc:docMk/>
            <pc:sldMk cId="2194338244" sldId="345"/>
            <ac:spMk id="62" creationId="{D6D4638B-3BD6-420C-B97C-271F959C91B0}"/>
          </ac:spMkLst>
        </pc:spChg>
        <pc:spChg chg="mod modVis">
          <ac:chgData name="Ronny Georgi" userId="516b13485727eb9a" providerId="LiveId" clId="{669F18A1-3183-4623-B098-BEC40FDB9FF5}" dt="2022-02-13T20:16:51.864" v="56" actId="962"/>
          <ac:spMkLst>
            <pc:docMk/>
            <pc:sldMk cId="2194338244" sldId="345"/>
            <ac:spMk id="63" creationId="{A48DE924-9D27-4FAA-A590-F2E65CEFAF22}"/>
          </ac:spMkLst>
        </pc:spChg>
        <pc:spChg chg="mod modVis">
          <ac:chgData name="Ronny Georgi" userId="516b13485727eb9a" providerId="LiveId" clId="{669F18A1-3183-4623-B098-BEC40FDB9FF5}" dt="2022-02-13T20:16:51.867" v="57" actId="962"/>
          <ac:spMkLst>
            <pc:docMk/>
            <pc:sldMk cId="2194338244" sldId="345"/>
            <ac:spMk id="64" creationId="{9D39A885-CD18-47EF-882A-E88A14445328}"/>
          </ac:spMkLst>
        </pc:spChg>
        <pc:spChg chg="mod modVis">
          <ac:chgData name="Ronny Georgi" userId="516b13485727eb9a" providerId="LiveId" clId="{669F18A1-3183-4623-B098-BEC40FDB9FF5}" dt="2022-02-13T20:16:51.881" v="58" actId="962"/>
          <ac:spMkLst>
            <pc:docMk/>
            <pc:sldMk cId="2194338244" sldId="345"/>
            <ac:spMk id="65" creationId="{F0BA1DE9-D6DA-4966-8B8D-D7A3E3C01D62}"/>
          </ac:spMkLst>
        </pc:spChg>
        <pc:spChg chg="mod modVis">
          <ac:chgData name="Ronny Georgi" userId="516b13485727eb9a" providerId="LiveId" clId="{669F18A1-3183-4623-B098-BEC40FDB9FF5}" dt="2022-02-13T20:16:51.886" v="59" actId="962"/>
          <ac:spMkLst>
            <pc:docMk/>
            <pc:sldMk cId="2194338244" sldId="345"/>
            <ac:spMk id="66" creationId="{F1E3F595-3AB4-4471-836B-CF4F4AD273CD}"/>
          </ac:spMkLst>
        </pc:spChg>
        <pc:spChg chg="mod modVis">
          <ac:chgData name="Ronny Georgi" userId="516b13485727eb9a" providerId="LiveId" clId="{669F18A1-3183-4623-B098-BEC40FDB9FF5}" dt="2022-02-13T20:16:51.895" v="60" actId="962"/>
          <ac:spMkLst>
            <pc:docMk/>
            <pc:sldMk cId="2194338244" sldId="345"/>
            <ac:spMk id="67" creationId="{FC984BA4-257B-40BF-BCE7-02274252CA4B}"/>
          </ac:spMkLst>
        </pc:spChg>
        <pc:spChg chg="mod modVis">
          <ac:chgData name="Ronny Georgi" userId="516b13485727eb9a" providerId="LiveId" clId="{669F18A1-3183-4623-B098-BEC40FDB9FF5}" dt="2022-02-13T20:16:51.898" v="61" actId="962"/>
          <ac:spMkLst>
            <pc:docMk/>
            <pc:sldMk cId="2194338244" sldId="345"/>
            <ac:spMk id="68" creationId="{97D1FB5B-A58D-4883-899D-BDF4D3BC70F6}"/>
          </ac:spMkLst>
        </pc:spChg>
        <pc:spChg chg="mod modVis">
          <ac:chgData name="Ronny Georgi" userId="516b13485727eb9a" providerId="LiveId" clId="{669F18A1-3183-4623-B098-BEC40FDB9FF5}" dt="2022-02-13T20:16:51.907" v="62" actId="962"/>
          <ac:spMkLst>
            <pc:docMk/>
            <pc:sldMk cId="2194338244" sldId="345"/>
            <ac:spMk id="69" creationId="{827F33D9-2B82-42AB-85B4-BEEEAD49EF14}"/>
          </ac:spMkLst>
        </pc:spChg>
        <pc:spChg chg="mod modVis">
          <ac:chgData name="Ronny Georgi" userId="516b13485727eb9a" providerId="LiveId" clId="{669F18A1-3183-4623-B098-BEC40FDB9FF5}" dt="2022-02-13T20:16:51.938" v="63" actId="962"/>
          <ac:spMkLst>
            <pc:docMk/>
            <pc:sldMk cId="2194338244" sldId="345"/>
            <ac:spMk id="70" creationId="{896BAE0C-BB40-49A6-8F4A-01A9D90C44FF}"/>
          </ac:spMkLst>
        </pc:spChg>
        <pc:spChg chg="mod modVis">
          <ac:chgData name="Ronny Georgi" userId="516b13485727eb9a" providerId="LiveId" clId="{669F18A1-3183-4623-B098-BEC40FDB9FF5}" dt="2022-02-13T20:16:51.957" v="64" actId="962"/>
          <ac:spMkLst>
            <pc:docMk/>
            <pc:sldMk cId="2194338244" sldId="345"/>
            <ac:spMk id="71" creationId="{CE797CA4-7E6B-49C2-968B-F7340F5CD30A}"/>
          </ac:spMkLst>
        </pc:spChg>
        <pc:spChg chg="mod modVis">
          <ac:chgData name="Ronny Georgi" userId="516b13485727eb9a" providerId="LiveId" clId="{669F18A1-3183-4623-B098-BEC40FDB9FF5}" dt="2022-02-13T20:16:51.985" v="65" actId="962"/>
          <ac:spMkLst>
            <pc:docMk/>
            <pc:sldMk cId="2194338244" sldId="345"/>
            <ac:spMk id="72" creationId="{27F540EB-59BC-4EDE-94D8-57C7DB30ABA9}"/>
          </ac:spMkLst>
        </pc:spChg>
        <pc:spChg chg="mod modVis">
          <ac:chgData name="Ronny Georgi" userId="516b13485727eb9a" providerId="LiveId" clId="{669F18A1-3183-4623-B098-BEC40FDB9FF5}" dt="2022-02-13T20:16:52.003" v="66" actId="962"/>
          <ac:spMkLst>
            <pc:docMk/>
            <pc:sldMk cId="2194338244" sldId="345"/>
            <ac:spMk id="73" creationId="{AF5B91F2-5A21-4999-B43C-841267B15063}"/>
          </ac:spMkLst>
        </pc:spChg>
        <pc:spChg chg="mod modVis">
          <ac:chgData name="Ronny Georgi" userId="516b13485727eb9a" providerId="LiveId" clId="{669F18A1-3183-4623-B098-BEC40FDB9FF5}" dt="2022-02-13T20:16:52.006" v="67" actId="962"/>
          <ac:spMkLst>
            <pc:docMk/>
            <pc:sldMk cId="2194338244" sldId="345"/>
            <ac:spMk id="74" creationId="{41F0FFFD-7FA6-4E0E-994C-2E79C41B7B6E}"/>
          </ac:spMkLst>
        </pc:spChg>
        <pc:spChg chg="mod modVis">
          <ac:chgData name="Ronny Georgi" userId="516b13485727eb9a" providerId="LiveId" clId="{669F18A1-3183-4623-B098-BEC40FDB9FF5}" dt="2022-02-13T20:16:52.025" v="68" actId="962"/>
          <ac:spMkLst>
            <pc:docMk/>
            <pc:sldMk cId="2194338244" sldId="345"/>
            <ac:spMk id="75" creationId="{B6475E6D-4EB9-4645-8BAA-C492BD523AEC}"/>
          </ac:spMkLst>
        </pc:spChg>
        <pc:spChg chg="mod modVis">
          <ac:chgData name="Ronny Georgi" userId="516b13485727eb9a" providerId="LiveId" clId="{669F18A1-3183-4623-B098-BEC40FDB9FF5}" dt="2022-02-13T20:16:52.031" v="69" actId="962"/>
          <ac:spMkLst>
            <pc:docMk/>
            <pc:sldMk cId="2194338244" sldId="345"/>
            <ac:spMk id="76" creationId="{0DEF8A24-FB55-49A1-BD0C-8506F521E41A}"/>
          </ac:spMkLst>
        </pc:spChg>
        <pc:spChg chg="mod modVis">
          <ac:chgData name="Ronny Georgi" userId="516b13485727eb9a" providerId="LiveId" clId="{669F18A1-3183-4623-B098-BEC40FDB9FF5}" dt="2022-02-13T20:16:52.046" v="70" actId="962"/>
          <ac:spMkLst>
            <pc:docMk/>
            <pc:sldMk cId="2194338244" sldId="345"/>
            <ac:spMk id="77" creationId="{AE7C1385-8C93-4AED-83BE-A4800231ED88}"/>
          </ac:spMkLst>
        </pc:spChg>
        <pc:spChg chg="mod modVis">
          <ac:chgData name="Ronny Georgi" userId="516b13485727eb9a" providerId="LiveId" clId="{669F18A1-3183-4623-B098-BEC40FDB9FF5}" dt="2022-02-13T20:16:52.049" v="71" actId="962"/>
          <ac:spMkLst>
            <pc:docMk/>
            <pc:sldMk cId="2194338244" sldId="345"/>
            <ac:spMk id="78" creationId="{7BDDEEB0-7A8E-41E5-9EB8-6352B7C97690}"/>
          </ac:spMkLst>
        </pc:spChg>
        <pc:spChg chg="mod modVis">
          <ac:chgData name="Ronny Georgi" userId="516b13485727eb9a" providerId="LiveId" clId="{669F18A1-3183-4623-B098-BEC40FDB9FF5}" dt="2022-02-13T20:16:52.056" v="72" actId="962"/>
          <ac:spMkLst>
            <pc:docMk/>
            <pc:sldMk cId="2194338244" sldId="345"/>
            <ac:spMk id="79" creationId="{3F10C0E3-1ACA-439E-B01C-E5E9731D9474}"/>
          </ac:spMkLst>
        </pc:spChg>
        <pc:spChg chg="mod modVis">
          <ac:chgData name="Ronny Georgi" userId="516b13485727eb9a" providerId="LiveId" clId="{669F18A1-3183-4623-B098-BEC40FDB9FF5}" dt="2022-02-13T20:16:52.059" v="73" actId="962"/>
          <ac:spMkLst>
            <pc:docMk/>
            <pc:sldMk cId="2194338244" sldId="345"/>
            <ac:spMk id="80" creationId="{0AB6FE06-5897-4115-AE9F-8D6E35293078}"/>
          </ac:spMkLst>
        </pc:spChg>
        <pc:cxnChg chg="del">
          <ac:chgData name="Ronny Georgi" userId="516b13485727eb9a" providerId="LiveId" clId="{669F18A1-3183-4623-B098-BEC40FDB9FF5}" dt="2022-02-13T20:16:53.775" v="441" actId="478"/>
          <ac:cxnSpMkLst>
            <pc:docMk/>
            <pc:sldMk cId="2194338244" sldId="345"/>
            <ac:cxnSpMk id="6" creationId="{C91E421D-6BF2-4CDD-8A2C-723316C84277}"/>
          </ac:cxnSpMkLst>
        </pc:cxnChg>
      </pc:sldChg>
      <pc:sldChg chg="del">
        <pc:chgData name="Ronny Georgi" userId="516b13485727eb9a" providerId="LiveId" clId="{669F18A1-3183-4623-B098-BEC40FDB9FF5}" dt="2022-02-13T20:16:53.772" v="439" actId="2696"/>
        <pc:sldMkLst>
          <pc:docMk/>
          <pc:sldMk cId="1355008441" sldId="346"/>
        </pc:sldMkLst>
      </pc:sldChg>
      <pc:sldChg chg="del">
        <pc:chgData name="Ronny Georgi" userId="516b13485727eb9a" providerId="LiveId" clId="{669F18A1-3183-4623-B098-BEC40FDB9FF5}" dt="2022-02-13T20:16:53.769" v="438" actId="2696"/>
        <pc:sldMkLst>
          <pc:docMk/>
          <pc:sldMk cId="3862893859" sldId="347"/>
        </pc:sldMkLst>
      </pc:sldChg>
      <pc:sldChg chg="addSp delSp modSp mod replTag">
        <pc:chgData name="Ronny Georgi" userId="516b13485727eb9a" providerId="LiveId" clId="{669F18A1-3183-4623-B098-BEC40FDB9FF5}" dt="2022-02-13T20:24:37.423" v="991" actId="20577"/>
        <pc:sldMkLst>
          <pc:docMk/>
          <pc:sldMk cId="3517640387" sldId="348"/>
        </pc:sldMkLst>
        <pc:spChg chg="del mod replST">
          <ac:chgData name="Ronny Georgi" userId="516b13485727eb9a" providerId="LiveId" clId="{669F18A1-3183-4623-B098-BEC40FDB9FF5}" dt="2022-02-13T20:17:13.934" v="606" actId="478"/>
          <ac:spMkLst>
            <pc:docMk/>
            <pc:sldMk cId="3517640387" sldId="348"/>
            <ac:spMk id="4" creationId="{969C394B-6608-4F76-8626-990BD91964DE}"/>
          </ac:spMkLst>
        </pc:spChg>
        <pc:spChg chg="add mod">
          <ac:chgData name="Ronny Georgi" userId="516b13485727eb9a" providerId="LiveId" clId="{669F18A1-3183-4623-B098-BEC40FDB9FF5}" dt="2022-02-13T20:17:13.934" v="606" actId="478"/>
          <ac:spMkLst>
            <pc:docMk/>
            <pc:sldMk cId="3517640387" sldId="348"/>
            <ac:spMk id="6" creationId="{81D2C0B2-ED96-406D-8567-9588E962626B}"/>
          </ac:spMkLst>
        </pc:spChg>
        <pc:spChg chg="del mod replST">
          <ac:chgData name="Ronny Georgi" userId="516b13485727eb9a" providerId="LiveId" clId="{669F18A1-3183-4623-B098-BEC40FDB9FF5}" dt="2022-02-13T20:24:37.419" v="989" actId="478"/>
          <ac:spMkLst>
            <pc:docMk/>
            <pc:sldMk cId="3517640387" sldId="348"/>
            <ac:spMk id="7" creationId="{4B1E6B28-B53D-4A48-A186-67BB42576092}"/>
          </ac:spMkLst>
        </pc:spChg>
        <pc:spChg chg="add mod">
          <ac:chgData name="Ronny Georgi" userId="516b13485727eb9a" providerId="LiveId" clId="{669F18A1-3183-4623-B098-BEC40FDB9FF5}" dt="2022-02-13T20:24:37.419" v="989" actId="478"/>
          <ac:spMkLst>
            <pc:docMk/>
            <pc:sldMk cId="3517640387" sldId="348"/>
            <ac:spMk id="9" creationId="{969C1CE9-8C6D-4D03-BFCC-7E7F1906D4AD}"/>
          </ac:spMkLst>
        </pc:spChg>
        <pc:spChg chg="mod replST">
          <ac:chgData name="Ronny Georgi" userId="516b13485727eb9a" providerId="LiveId" clId="{669F18A1-3183-4623-B098-BEC40FDB9FF5}" dt="2022-02-13T20:24:37.423" v="991" actId="20577"/>
          <ac:spMkLst>
            <pc:docMk/>
            <pc:sldMk cId="3517640387" sldId="348"/>
            <ac:spMk id="10" creationId="{6835188E-5621-4A26-9366-26A02178622D}"/>
          </ac:spMkLst>
        </pc:spChg>
      </pc:sldChg>
      <pc:sldChg chg="delSp modSp del mod">
        <pc:chgData name="Ronny Georgi" userId="516b13485727eb9a" providerId="LiveId" clId="{669F18A1-3183-4623-B098-BEC40FDB9FF5}" dt="2022-02-13T20:17:13.958" v="613" actId="2696"/>
        <pc:sldMkLst>
          <pc:docMk/>
          <pc:sldMk cId="1321706969" sldId="349"/>
        </pc:sldMkLst>
        <pc:spChg chg="del">
          <ac:chgData name="Ronny Georgi" userId="516b13485727eb9a" providerId="LiveId" clId="{669F18A1-3183-4623-B098-BEC40FDB9FF5}" dt="2022-02-13T20:17:13.953" v="611" actId="478"/>
          <ac:spMkLst>
            <pc:docMk/>
            <pc:sldMk cId="1321706969" sldId="349"/>
            <ac:spMk id="5" creationId="{10319527-CF32-4120-A5F8-0DA24DF523C1}"/>
          </ac:spMkLst>
        </pc:spChg>
        <pc:spChg chg="mod">
          <ac:chgData name="Ronny Georgi" userId="516b13485727eb9a" providerId="LiveId" clId="{669F18A1-3183-4623-B098-BEC40FDB9FF5}" dt="2022-02-13T20:17:12.679" v="448" actId="207"/>
          <ac:spMkLst>
            <pc:docMk/>
            <pc:sldMk cId="1321706969" sldId="349"/>
            <ac:spMk id="7" creationId="{BA89CD32-460F-4268-A480-D782154BA9CD}"/>
          </ac:spMkLst>
        </pc:spChg>
        <pc:spChg chg="mod modVis">
          <ac:chgData name="Ronny Georgi" userId="516b13485727eb9a" providerId="LiveId" clId="{669F18A1-3183-4623-B098-BEC40FDB9FF5}" dt="2022-02-13T20:17:12.788" v="449" actId="962"/>
          <ac:spMkLst>
            <pc:docMk/>
            <pc:sldMk cId="1321706969" sldId="349"/>
            <ac:spMk id="9" creationId="{82BF379B-C11B-4C21-B3AF-6C2D0EDA30CE}"/>
          </ac:spMkLst>
        </pc:spChg>
        <pc:spChg chg="mod modVis">
          <ac:chgData name="Ronny Georgi" userId="516b13485727eb9a" providerId="LiveId" clId="{669F18A1-3183-4623-B098-BEC40FDB9FF5}" dt="2022-02-13T20:17:12.817" v="450" actId="962"/>
          <ac:spMkLst>
            <pc:docMk/>
            <pc:sldMk cId="1321706969" sldId="349"/>
            <ac:spMk id="10" creationId="{193DA7A2-E193-45AD-9040-D193C22FE07D}"/>
          </ac:spMkLst>
        </pc:spChg>
        <pc:spChg chg="mod modVis">
          <ac:chgData name="Ronny Georgi" userId="516b13485727eb9a" providerId="LiveId" clId="{669F18A1-3183-4623-B098-BEC40FDB9FF5}" dt="2022-02-13T20:17:12.842" v="451" actId="962"/>
          <ac:spMkLst>
            <pc:docMk/>
            <pc:sldMk cId="1321706969" sldId="349"/>
            <ac:spMk id="11" creationId="{BDBAF8A1-9A90-4EB3-8164-B776DE9D82C1}"/>
          </ac:spMkLst>
        </pc:spChg>
        <pc:spChg chg="mod modVis">
          <ac:chgData name="Ronny Georgi" userId="516b13485727eb9a" providerId="LiveId" clId="{669F18A1-3183-4623-B098-BEC40FDB9FF5}" dt="2022-02-13T20:17:12.865" v="452" actId="962"/>
          <ac:spMkLst>
            <pc:docMk/>
            <pc:sldMk cId="1321706969" sldId="349"/>
            <ac:spMk id="12" creationId="{CC56C258-E0D6-4EC8-A466-7BE53302A87B}"/>
          </ac:spMkLst>
        </pc:spChg>
        <pc:spChg chg="mod modVis">
          <ac:chgData name="Ronny Georgi" userId="516b13485727eb9a" providerId="LiveId" clId="{669F18A1-3183-4623-B098-BEC40FDB9FF5}" dt="2022-02-13T20:17:12.886" v="453" actId="962"/>
          <ac:spMkLst>
            <pc:docMk/>
            <pc:sldMk cId="1321706969" sldId="349"/>
            <ac:spMk id="13" creationId="{C7FFBFA0-8FA2-483B-A7DB-A5711AA98432}"/>
          </ac:spMkLst>
        </pc:spChg>
        <pc:spChg chg="mod modVis">
          <ac:chgData name="Ronny Georgi" userId="516b13485727eb9a" providerId="LiveId" clId="{669F18A1-3183-4623-B098-BEC40FDB9FF5}" dt="2022-02-13T20:17:12.908" v="454" actId="962"/>
          <ac:spMkLst>
            <pc:docMk/>
            <pc:sldMk cId="1321706969" sldId="349"/>
            <ac:spMk id="14" creationId="{14EF6D78-83E1-433A-810B-C6B19A43AE04}"/>
          </ac:spMkLst>
        </pc:spChg>
        <pc:spChg chg="mod modVis">
          <ac:chgData name="Ronny Georgi" userId="516b13485727eb9a" providerId="LiveId" clId="{669F18A1-3183-4623-B098-BEC40FDB9FF5}" dt="2022-02-13T20:17:12.923" v="455" actId="962"/>
          <ac:spMkLst>
            <pc:docMk/>
            <pc:sldMk cId="1321706969" sldId="349"/>
            <ac:spMk id="15" creationId="{6490A6A6-9E33-4042-9E4C-DE833EC965D7}"/>
          </ac:spMkLst>
        </pc:spChg>
        <pc:spChg chg="mod modVis">
          <ac:chgData name="Ronny Georgi" userId="516b13485727eb9a" providerId="LiveId" clId="{669F18A1-3183-4623-B098-BEC40FDB9FF5}" dt="2022-02-13T20:17:12.980" v="456" actId="962"/>
          <ac:spMkLst>
            <pc:docMk/>
            <pc:sldMk cId="1321706969" sldId="349"/>
            <ac:spMk id="16" creationId="{3CAD245B-22B7-4FDC-A10B-E8FA913F2839}"/>
          </ac:spMkLst>
        </pc:spChg>
        <pc:spChg chg="mod modVis">
          <ac:chgData name="Ronny Georgi" userId="516b13485727eb9a" providerId="LiveId" clId="{669F18A1-3183-4623-B098-BEC40FDB9FF5}" dt="2022-02-13T20:17:12.996" v="457" actId="962"/>
          <ac:spMkLst>
            <pc:docMk/>
            <pc:sldMk cId="1321706969" sldId="349"/>
            <ac:spMk id="17" creationId="{C90B7E9E-F831-4545-A50B-EB1B4E01F29E}"/>
          </ac:spMkLst>
        </pc:spChg>
        <pc:spChg chg="mod modVis">
          <ac:chgData name="Ronny Georgi" userId="516b13485727eb9a" providerId="LiveId" clId="{669F18A1-3183-4623-B098-BEC40FDB9FF5}" dt="2022-02-13T20:17:13.006" v="458" actId="962"/>
          <ac:spMkLst>
            <pc:docMk/>
            <pc:sldMk cId="1321706969" sldId="349"/>
            <ac:spMk id="18" creationId="{06AA902E-FBD0-45E0-A3B8-8866EFDCE5A7}"/>
          </ac:spMkLst>
        </pc:spChg>
        <pc:spChg chg="mod modVis">
          <ac:chgData name="Ronny Georgi" userId="516b13485727eb9a" providerId="LiveId" clId="{669F18A1-3183-4623-B098-BEC40FDB9FF5}" dt="2022-02-13T20:17:13.014" v="459" actId="962"/>
          <ac:spMkLst>
            <pc:docMk/>
            <pc:sldMk cId="1321706969" sldId="349"/>
            <ac:spMk id="19" creationId="{A906349E-BDC2-47DF-8971-52E632FC67D7}"/>
          </ac:spMkLst>
        </pc:spChg>
        <pc:spChg chg="mod modVis">
          <ac:chgData name="Ronny Georgi" userId="516b13485727eb9a" providerId="LiveId" clId="{669F18A1-3183-4623-B098-BEC40FDB9FF5}" dt="2022-02-13T20:17:13.024" v="460" actId="962"/>
          <ac:spMkLst>
            <pc:docMk/>
            <pc:sldMk cId="1321706969" sldId="349"/>
            <ac:spMk id="20" creationId="{AD971EB4-A8F4-4350-BDFD-91D77A2E22E2}"/>
          </ac:spMkLst>
        </pc:spChg>
        <pc:spChg chg="mod modVis">
          <ac:chgData name="Ronny Georgi" userId="516b13485727eb9a" providerId="LiveId" clId="{669F18A1-3183-4623-B098-BEC40FDB9FF5}" dt="2022-02-13T20:17:13.039" v="461" actId="962"/>
          <ac:spMkLst>
            <pc:docMk/>
            <pc:sldMk cId="1321706969" sldId="349"/>
            <ac:spMk id="21" creationId="{E27E169F-9B89-4E9C-81F6-7198E97C2B28}"/>
          </ac:spMkLst>
        </pc:spChg>
        <pc:spChg chg="mod modVis">
          <ac:chgData name="Ronny Georgi" userId="516b13485727eb9a" providerId="LiveId" clId="{669F18A1-3183-4623-B098-BEC40FDB9FF5}" dt="2022-02-13T20:17:13.055" v="462" actId="962"/>
          <ac:spMkLst>
            <pc:docMk/>
            <pc:sldMk cId="1321706969" sldId="349"/>
            <ac:spMk id="22" creationId="{BD450D47-05E6-4DEF-AD0C-83889CD3D37A}"/>
          </ac:spMkLst>
        </pc:spChg>
        <pc:spChg chg="mod modVis">
          <ac:chgData name="Ronny Georgi" userId="516b13485727eb9a" providerId="LiveId" clId="{669F18A1-3183-4623-B098-BEC40FDB9FF5}" dt="2022-02-13T20:17:13.071" v="463" actId="962"/>
          <ac:spMkLst>
            <pc:docMk/>
            <pc:sldMk cId="1321706969" sldId="349"/>
            <ac:spMk id="23" creationId="{437E064A-40D8-42E8-ABFB-E58C62F9574E}"/>
          </ac:spMkLst>
        </pc:spChg>
        <pc:spChg chg="mod modVis">
          <ac:chgData name="Ronny Georgi" userId="516b13485727eb9a" providerId="LiveId" clId="{669F18A1-3183-4623-B098-BEC40FDB9FF5}" dt="2022-02-13T20:17:13.098" v="464" actId="962"/>
          <ac:spMkLst>
            <pc:docMk/>
            <pc:sldMk cId="1321706969" sldId="349"/>
            <ac:spMk id="24" creationId="{9DB5D1D6-BF09-47CF-A059-0F7E81FB51B2}"/>
          </ac:spMkLst>
        </pc:spChg>
        <pc:spChg chg="mod modVis">
          <ac:chgData name="Ronny Georgi" userId="516b13485727eb9a" providerId="LiveId" clId="{669F18A1-3183-4623-B098-BEC40FDB9FF5}" dt="2022-02-13T20:17:13.118" v="465" actId="962"/>
          <ac:spMkLst>
            <pc:docMk/>
            <pc:sldMk cId="1321706969" sldId="349"/>
            <ac:spMk id="25" creationId="{57B545D8-BBDA-40FA-9924-B8FAA2F4DB6B}"/>
          </ac:spMkLst>
        </pc:spChg>
        <pc:spChg chg="mod modVis">
          <ac:chgData name="Ronny Georgi" userId="516b13485727eb9a" providerId="LiveId" clId="{669F18A1-3183-4623-B098-BEC40FDB9FF5}" dt="2022-02-13T20:17:13.133" v="466" actId="962"/>
          <ac:spMkLst>
            <pc:docMk/>
            <pc:sldMk cId="1321706969" sldId="349"/>
            <ac:spMk id="26" creationId="{5DAE622C-E4DF-49D8-8866-D3E3C0F3ECCD}"/>
          </ac:spMkLst>
        </pc:spChg>
        <pc:spChg chg="mod modVis">
          <ac:chgData name="Ronny Georgi" userId="516b13485727eb9a" providerId="LiveId" clId="{669F18A1-3183-4623-B098-BEC40FDB9FF5}" dt="2022-02-13T20:17:13.149" v="467" actId="962"/>
          <ac:spMkLst>
            <pc:docMk/>
            <pc:sldMk cId="1321706969" sldId="349"/>
            <ac:spMk id="27" creationId="{CB44BEE9-E4F0-4600-B616-56CEEF681040}"/>
          </ac:spMkLst>
        </pc:spChg>
        <pc:spChg chg="mod modVis">
          <ac:chgData name="Ronny Georgi" userId="516b13485727eb9a" providerId="LiveId" clId="{669F18A1-3183-4623-B098-BEC40FDB9FF5}" dt="2022-02-13T20:17:13.161" v="468" actId="962"/>
          <ac:spMkLst>
            <pc:docMk/>
            <pc:sldMk cId="1321706969" sldId="349"/>
            <ac:spMk id="28" creationId="{7078599B-C9C8-4DEE-80DE-B92192451A35}"/>
          </ac:spMkLst>
        </pc:spChg>
        <pc:spChg chg="mod modVis">
          <ac:chgData name="Ronny Georgi" userId="516b13485727eb9a" providerId="LiveId" clId="{669F18A1-3183-4623-B098-BEC40FDB9FF5}" dt="2022-02-13T20:17:13.170" v="469" actId="962"/>
          <ac:spMkLst>
            <pc:docMk/>
            <pc:sldMk cId="1321706969" sldId="349"/>
            <ac:spMk id="29" creationId="{33AB6B2F-E60A-4702-AC91-AFF2E87CF31A}"/>
          </ac:spMkLst>
        </pc:spChg>
        <pc:spChg chg="mod modVis">
          <ac:chgData name="Ronny Georgi" userId="516b13485727eb9a" providerId="LiveId" clId="{669F18A1-3183-4623-B098-BEC40FDB9FF5}" dt="2022-02-13T20:17:13.172" v="470" actId="962"/>
          <ac:spMkLst>
            <pc:docMk/>
            <pc:sldMk cId="1321706969" sldId="349"/>
            <ac:spMk id="30" creationId="{CA88D0FC-9CE6-41D5-A473-3F6419EBD22E}"/>
          </ac:spMkLst>
        </pc:spChg>
        <pc:spChg chg="mod modVis">
          <ac:chgData name="Ronny Georgi" userId="516b13485727eb9a" providerId="LiveId" clId="{669F18A1-3183-4623-B098-BEC40FDB9FF5}" dt="2022-02-13T20:17:13.187" v="471" actId="962"/>
          <ac:spMkLst>
            <pc:docMk/>
            <pc:sldMk cId="1321706969" sldId="349"/>
            <ac:spMk id="31" creationId="{A5B03FF3-129B-4508-8BB6-ED77D8B9AAE9}"/>
          </ac:spMkLst>
        </pc:spChg>
        <pc:spChg chg="mod modVis">
          <ac:chgData name="Ronny Georgi" userId="516b13485727eb9a" providerId="LiveId" clId="{669F18A1-3183-4623-B098-BEC40FDB9FF5}" dt="2022-02-13T20:17:13.196" v="472" actId="962"/>
          <ac:spMkLst>
            <pc:docMk/>
            <pc:sldMk cId="1321706969" sldId="349"/>
            <ac:spMk id="32" creationId="{1779EDE9-02BC-43AA-BE3E-876FB056784C}"/>
          </ac:spMkLst>
        </pc:spChg>
        <pc:spChg chg="mod modVis">
          <ac:chgData name="Ronny Georgi" userId="516b13485727eb9a" providerId="LiveId" clId="{669F18A1-3183-4623-B098-BEC40FDB9FF5}" dt="2022-02-13T20:17:13.207" v="473" actId="962"/>
          <ac:spMkLst>
            <pc:docMk/>
            <pc:sldMk cId="1321706969" sldId="349"/>
            <ac:spMk id="33" creationId="{2335A273-D357-4B4F-A457-B45EC4973066}"/>
          </ac:spMkLst>
        </pc:spChg>
        <pc:spChg chg="mod modVis">
          <ac:chgData name="Ronny Georgi" userId="516b13485727eb9a" providerId="LiveId" clId="{669F18A1-3183-4623-B098-BEC40FDB9FF5}" dt="2022-02-13T20:17:13.222" v="474" actId="962"/>
          <ac:spMkLst>
            <pc:docMk/>
            <pc:sldMk cId="1321706969" sldId="349"/>
            <ac:spMk id="34" creationId="{EDE90ECA-7A29-4A87-8D70-994F201387EA}"/>
          </ac:spMkLst>
        </pc:spChg>
        <pc:spChg chg="mod modVis">
          <ac:chgData name="Ronny Georgi" userId="516b13485727eb9a" providerId="LiveId" clId="{669F18A1-3183-4623-B098-BEC40FDB9FF5}" dt="2022-02-13T20:17:13.254" v="475" actId="962"/>
          <ac:spMkLst>
            <pc:docMk/>
            <pc:sldMk cId="1321706969" sldId="349"/>
            <ac:spMk id="35" creationId="{2153751A-36FD-4DC1-8ED2-BC91A3649387}"/>
          </ac:spMkLst>
        </pc:spChg>
        <pc:spChg chg="mod modVis">
          <ac:chgData name="Ronny Georgi" userId="516b13485727eb9a" providerId="LiveId" clId="{669F18A1-3183-4623-B098-BEC40FDB9FF5}" dt="2022-02-13T20:17:13.269" v="476" actId="962"/>
          <ac:spMkLst>
            <pc:docMk/>
            <pc:sldMk cId="1321706969" sldId="349"/>
            <ac:spMk id="36" creationId="{C2C3AF20-08D1-4404-A867-83E1CF593316}"/>
          </ac:spMkLst>
        </pc:spChg>
        <pc:spChg chg="mod modVis">
          <ac:chgData name="Ronny Georgi" userId="516b13485727eb9a" providerId="LiveId" clId="{669F18A1-3183-4623-B098-BEC40FDB9FF5}" dt="2022-02-13T20:17:13.286" v="477" actId="962"/>
          <ac:spMkLst>
            <pc:docMk/>
            <pc:sldMk cId="1321706969" sldId="349"/>
            <ac:spMk id="37" creationId="{29806D45-59D4-4533-BE14-C83572A20390}"/>
          </ac:spMkLst>
        </pc:spChg>
        <pc:spChg chg="mod modVis">
          <ac:chgData name="Ronny Georgi" userId="516b13485727eb9a" providerId="LiveId" clId="{669F18A1-3183-4623-B098-BEC40FDB9FF5}" dt="2022-02-13T20:17:13.295" v="478" actId="962"/>
          <ac:spMkLst>
            <pc:docMk/>
            <pc:sldMk cId="1321706969" sldId="349"/>
            <ac:spMk id="38" creationId="{A381345F-933C-4721-9AC7-7DFE88BA9981}"/>
          </ac:spMkLst>
        </pc:spChg>
        <pc:spChg chg="mod modVis">
          <ac:chgData name="Ronny Georgi" userId="516b13485727eb9a" providerId="LiveId" clId="{669F18A1-3183-4623-B098-BEC40FDB9FF5}" dt="2022-02-13T20:17:13.305" v="479" actId="962"/>
          <ac:spMkLst>
            <pc:docMk/>
            <pc:sldMk cId="1321706969" sldId="349"/>
            <ac:spMk id="39" creationId="{970F4D37-FFAD-4596-AAB7-4A0DAD3E926B}"/>
          </ac:spMkLst>
        </pc:spChg>
        <pc:spChg chg="mod modVis">
          <ac:chgData name="Ronny Georgi" userId="516b13485727eb9a" providerId="LiveId" clId="{669F18A1-3183-4623-B098-BEC40FDB9FF5}" dt="2022-02-13T20:17:13.314" v="480" actId="962"/>
          <ac:spMkLst>
            <pc:docMk/>
            <pc:sldMk cId="1321706969" sldId="349"/>
            <ac:spMk id="40" creationId="{690B5DF0-D76A-4ABA-9977-1A00EA5932A6}"/>
          </ac:spMkLst>
        </pc:spChg>
        <pc:spChg chg="mod modVis">
          <ac:chgData name="Ronny Georgi" userId="516b13485727eb9a" providerId="LiveId" clId="{669F18A1-3183-4623-B098-BEC40FDB9FF5}" dt="2022-02-13T20:17:13.322" v="481" actId="962"/>
          <ac:spMkLst>
            <pc:docMk/>
            <pc:sldMk cId="1321706969" sldId="349"/>
            <ac:spMk id="41" creationId="{B3B5AA81-6420-4139-B1EB-5C8C61D1E2A7}"/>
          </ac:spMkLst>
        </pc:spChg>
        <pc:spChg chg="mod modVis">
          <ac:chgData name="Ronny Georgi" userId="516b13485727eb9a" providerId="LiveId" clId="{669F18A1-3183-4623-B098-BEC40FDB9FF5}" dt="2022-02-13T20:17:13.324" v="482" actId="962"/>
          <ac:spMkLst>
            <pc:docMk/>
            <pc:sldMk cId="1321706969" sldId="349"/>
            <ac:spMk id="42" creationId="{D92741B6-B9E2-4180-BE37-92B5DA30C6C0}"/>
          </ac:spMkLst>
        </pc:spChg>
        <pc:spChg chg="mod modVis">
          <ac:chgData name="Ronny Georgi" userId="516b13485727eb9a" providerId="LiveId" clId="{669F18A1-3183-4623-B098-BEC40FDB9FF5}" dt="2022-02-13T20:17:13.332" v="483" actId="962"/>
          <ac:spMkLst>
            <pc:docMk/>
            <pc:sldMk cId="1321706969" sldId="349"/>
            <ac:spMk id="43" creationId="{37727696-4DA1-4CBA-A4CB-289AD26B9C03}"/>
          </ac:spMkLst>
        </pc:spChg>
        <pc:spChg chg="mod modVis">
          <ac:chgData name="Ronny Georgi" userId="516b13485727eb9a" providerId="LiveId" clId="{669F18A1-3183-4623-B098-BEC40FDB9FF5}" dt="2022-02-13T20:17:13.334" v="484" actId="962"/>
          <ac:spMkLst>
            <pc:docMk/>
            <pc:sldMk cId="1321706969" sldId="349"/>
            <ac:spMk id="44" creationId="{5B9BA4E5-C8F9-4D63-ACD3-24FCB6A876EB}"/>
          </ac:spMkLst>
        </pc:spChg>
        <pc:cxnChg chg="del">
          <ac:chgData name="Ronny Georgi" userId="516b13485727eb9a" providerId="LiveId" clId="{669F18A1-3183-4623-B098-BEC40FDB9FF5}" dt="2022-02-13T20:17:13.955" v="612" actId="478"/>
          <ac:cxnSpMkLst>
            <pc:docMk/>
            <pc:sldMk cId="1321706969" sldId="349"/>
            <ac:cxnSpMk id="6" creationId="{73BE723D-ED1D-47A8-B5C5-BF0732A43EEC}"/>
          </ac:cxnSpMkLst>
        </pc:cxnChg>
      </pc:sldChg>
      <pc:sldChg chg="addSp modSp add mod">
        <pc:chgData name="Ronny Georgi" userId="516b13485727eb9a" providerId="LiveId" clId="{669F18A1-3183-4623-B098-BEC40FDB9FF5}" dt="2022-02-13T20:26:02.959" v="1023" actId="207"/>
        <pc:sldMkLst>
          <pc:docMk/>
          <pc:sldMk cId="2206461608" sldId="349"/>
        </pc:sldMkLst>
        <pc:spChg chg="mod">
          <ac:chgData name="Ronny Georgi" userId="516b13485727eb9a" providerId="LiveId" clId="{669F18A1-3183-4623-B098-BEC40FDB9FF5}" dt="2022-02-13T20:20:47.979" v="633" actId="20577"/>
          <ac:spMkLst>
            <pc:docMk/>
            <pc:sldMk cId="2206461608" sldId="349"/>
            <ac:spMk id="2" creationId="{D3CAB164-51F2-4C8B-BBE9-FC9B692A4EB0}"/>
          </ac:spMkLst>
        </pc:spChg>
        <pc:spChg chg="mod">
          <ac:chgData name="Ronny Georgi" userId="516b13485727eb9a" providerId="LiveId" clId="{669F18A1-3183-4623-B098-BEC40FDB9FF5}" dt="2022-02-13T20:26:02.959" v="1023" actId="207"/>
          <ac:spMkLst>
            <pc:docMk/>
            <pc:sldMk cId="2206461608" sldId="349"/>
            <ac:spMk id="14" creationId="{D9B3E3BB-3247-4882-9B32-71AE4206AB9F}"/>
          </ac:spMkLst>
        </pc:spChg>
        <pc:spChg chg="add mod">
          <ac:chgData name="Ronny Georgi" userId="516b13485727eb9a" providerId="LiveId" clId="{669F18A1-3183-4623-B098-BEC40FDB9FF5}" dt="2022-02-13T20:25:40.057" v="1022" actId="14100"/>
          <ac:spMkLst>
            <pc:docMk/>
            <pc:sldMk cId="2206461608" sldId="349"/>
            <ac:spMk id="22" creationId="{18401C49-B9C9-4957-B3DA-8549CCEEAE5E}"/>
          </ac:spMkLst>
        </pc:spChg>
        <pc:spChg chg="add mod">
          <ac:chgData name="Ronny Georgi" userId="516b13485727eb9a" providerId="LiveId" clId="{669F18A1-3183-4623-B098-BEC40FDB9FF5}" dt="2022-02-13T20:21:10.605" v="647" actId="14100"/>
          <ac:spMkLst>
            <pc:docMk/>
            <pc:sldMk cId="2206461608" sldId="349"/>
            <ac:spMk id="23" creationId="{348C03E6-AF50-4BE4-B2E9-0F205FFA6FC3}"/>
          </ac:spMkLst>
        </pc:spChg>
      </pc:sldChg>
      <pc:sldChg chg="del">
        <pc:chgData name="Ronny Georgi" userId="516b13485727eb9a" providerId="LiveId" clId="{669F18A1-3183-4623-B098-BEC40FDB9FF5}" dt="2022-02-13T20:17:13.951" v="610" actId="2696"/>
        <pc:sldMkLst>
          <pc:docMk/>
          <pc:sldMk cId="2794596272" sldId="350"/>
        </pc:sldMkLst>
      </pc:sldChg>
      <pc:sldChg chg="addSp delSp modSp add mod">
        <pc:chgData name="Ronny Georgi" userId="516b13485727eb9a" providerId="LiveId" clId="{669F18A1-3183-4623-B098-BEC40FDB9FF5}" dt="2022-02-13T20:28:08.820" v="1067" actId="207"/>
        <pc:sldMkLst>
          <pc:docMk/>
          <pc:sldMk cId="3593701520" sldId="350"/>
        </pc:sldMkLst>
        <pc:spChg chg="add del mod">
          <ac:chgData name="Ronny Georgi" userId="516b13485727eb9a" providerId="LiveId" clId="{669F18A1-3183-4623-B098-BEC40FDB9FF5}" dt="2022-02-13T20:22:49.817" v="760" actId="478"/>
          <ac:spMkLst>
            <pc:docMk/>
            <pc:sldMk cId="3593701520" sldId="350"/>
            <ac:spMk id="4" creationId="{76251063-1A98-4BA9-89EE-538E81349967}"/>
          </ac:spMkLst>
        </pc:spChg>
        <pc:spChg chg="add del mod">
          <ac:chgData name="Ronny Georgi" userId="516b13485727eb9a" providerId="LiveId" clId="{669F18A1-3183-4623-B098-BEC40FDB9FF5}" dt="2022-02-13T20:23:06.088" v="762" actId="478"/>
          <ac:spMkLst>
            <pc:docMk/>
            <pc:sldMk cId="3593701520" sldId="350"/>
            <ac:spMk id="5" creationId="{5E6FB41E-4CDC-46B8-B7AD-98661C16EA6C}"/>
          </ac:spMkLst>
        </pc:spChg>
        <pc:spChg chg="mod">
          <ac:chgData name="Ronny Georgi" userId="516b13485727eb9a" providerId="LiveId" clId="{669F18A1-3183-4623-B098-BEC40FDB9FF5}" dt="2022-02-13T20:28:08.820" v="1067" actId="207"/>
          <ac:spMkLst>
            <pc:docMk/>
            <pc:sldMk cId="3593701520" sldId="350"/>
            <ac:spMk id="6" creationId="{F9BE1108-4C18-45DA-8A0A-127F47EA50C5}"/>
          </ac:spMkLst>
        </pc:spChg>
        <pc:spChg chg="add mod">
          <ac:chgData name="Ronny Georgi" userId="516b13485727eb9a" providerId="LiveId" clId="{669F18A1-3183-4623-B098-BEC40FDB9FF5}" dt="2022-02-13T20:23:49.602" v="765" actId="21"/>
          <ac:spMkLst>
            <pc:docMk/>
            <pc:sldMk cId="3593701520" sldId="350"/>
            <ac:spMk id="7" creationId="{35C04173-8F51-49CA-B644-3E937509E389}"/>
          </ac:spMkLst>
        </pc:spChg>
        <pc:spChg chg="mod">
          <ac:chgData name="Ronny Georgi" userId="516b13485727eb9a" providerId="LiveId" clId="{669F18A1-3183-4623-B098-BEC40FDB9FF5}" dt="2022-02-13T20:27:52.082" v="1057" actId="20577"/>
          <ac:spMkLst>
            <pc:docMk/>
            <pc:sldMk cId="3593701520" sldId="350"/>
            <ac:spMk id="646" creationId="{00000000-0000-0000-0000-000000000000}"/>
          </ac:spMkLst>
        </pc:spChg>
      </pc:sldChg>
      <pc:sldChg chg="del">
        <pc:chgData name="Ronny Georgi" userId="516b13485727eb9a" providerId="LiveId" clId="{669F18A1-3183-4623-B098-BEC40FDB9FF5}" dt="2022-02-13T20:17:13.946" v="609" actId="2696"/>
        <pc:sldMkLst>
          <pc:docMk/>
          <pc:sldMk cId="2349471276" sldId="351"/>
        </pc:sldMkLst>
      </pc:sldChg>
      <pc:sldChg chg="modSp add mod">
        <pc:chgData name="Ronny Georgi" userId="516b13485727eb9a" providerId="LiveId" clId="{669F18A1-3183-4623-B098-BEC40FDB9FF5}" dt="2022-02-13T20:28:18.562" v="1074" actId="207"/>
        <pc:sldMkLst>
          <pc:docMk/>
          <pc:sldMk cId="3879046157" sldId="351"/>
        </pc:sldMkLst>
        <pc:spChg chg="mod">
          <ac:chgData name="Ronny Georgi" userId="516b13485727eb9a" providerId="LiveId" clId="{669F18A1-3183-4623-B098-BEC40FDB9FF5}" dt="2022-02-13T20:28:18.562" v="1074" actId="207"/>
          <ac:spMkLst>
            <pc:docMk/>
            <pc:sldMk cId="3879046157" sldId="351"/>
            <ac:spMk id="6" creationId="{F9BE1108-4C18-45DA-8A0A-127F47EA50C5}"/>
          </ac:spMkLst>
        </pc:spChg>
        <pc:spChg chg="mod">
          <ac:chgData name="Ronny Georgi" userId="516b13485727eb9a" providerId="LiveId" clId="{669F18A1-3183-4623-B098-BEC40FDB9FF5}" dt="2022-02-13T20:24:14.816" v="829" actId="20577"/>
          <ac:spMkLst>
            <pc:docMk/>
            <pc:sldMk cId="3879046157" sldId="351"/>
            <ac:spMk id="646" creationId="{00000000-0000-0000-0000-000000000000}"/>
          </ac:spMkLst>
        </pc:spChg>
      </pc:sldChg>
      <pc:sldChg chg="delSp modSp del mod">
        <pc:chgData name="Ronny Georgi" userId="516b13485727eb9a" providerId="LiveId" clId="{669F18A1-3183-4623-B098-BEC40FDB9FF5}" dt="2022-02-13T20:24:37.448" v="996" actId="2696"/>
        <pc:sldMkLst>
          <pc:docMk/>
          <pc:sldMk cId="1549673556" sldId="352"/>
        </pc:sldMkLst>
        <pc:spChg chg="del">
          <ac:chgData name="Ronny Georgi" userId="516b13485727eb9a" providerId="LiveId" clId="{669F18A1-3183-4623-B098-BEC40FDB9FF5}" dt="2022-02-13T20:24:37.439" v="994" actId="478"/>
          <ac:spMkLst>
            <pc:docMk/>
            <pc:sldMk cId="1549673556" sldId="352"/>
            <ac:spMk id="5" creationId="{0B0633C7-F701-4628-AB81-08DA36D5AB9C}"/>
          </ac:spMkLst>
        </pc:spChg>
        <pc:spChg chg="mod">
          <ac:chgData name="Ronny Georgi" userId="516b13485727eb9a" providerId="LiveId" clId="{669F18A1-3183-4623-B098-BEC40FDB9FF5}" dt="2022-02-13T20:24:36.261" v="831" actId="207"/>
          <ac:spMkLst>
            <pc:docMk/>
            <pc:sldMk cId="1549673556" sldId="352"/>
            <ac:spMk id="7" creationId="{63090851-00FF-43B2-B9E2-99E335055C27}"/>
          </ac:spMkLst>
        </pc:spChg>
        <pc:spChg chg="mod modVis">
          <ac:chgData name="Ronny Georgi" userId="516b13485727eb9a" providerId="LiveId" clId="{669F18A1-3183-4623-B098-BEC40FDB9FF5}" dt="2022-02-13T20:24:36.396" v="832" actId="962"/>
          <ac:spMkLst>
            <pc:docMk/>
            <pc:sldMk cId="1549673556" sldId="352"/>
            <ac:spMk id="9" creationId="{17625B91-C878-40ED-871E-C095FBD0E7D8}"/>
          </ac:spMkLst>
        </pc:spChg>
        <pc:spChg chg="mod modVis">
          <ac:chgData name="Ronny Georgi" userId="516b13485727eb9a" providerId="LiveId" clId="{669F18A1-3183-4623-B098-BEC40FDB9FF5}" dt="2022-02-13T20:24:36.433" v="833" actId="962"/>
          <ac:spMkLst>
            <pc:docMk/>
            <pc:sldMk cId="1549673556" sldId="352"/>
            <ac:spMk id="10" creationId="{AAC119CB-9125-463E-9558-6A8DF1C40B28}"/>
          </ac:spMkLst>
        </pc:spChg>
        <pc:spChg chg="mod modVis">
          <ac:chgData name="Ronny Georgi" userId="516b13485727eb9a" providerId="LiveId" clId="{669F18A1-3183-4623-B098-BEC40FDB9FF5}" dt="2022-02-13T20:24:36.467" v="834" actId="962"/>
          <ac:spMkLst>
            <pc:docMk/>
            <pc:sldMk cId="1549673556" sldId="352"/>
            <ac:spMk id="11" creationId="{9658814E-1783-4B2B-980C-2332A3240301}"/>
          </ac:spMkLst>
        </pc:spChg>
        <pc:spChg chg="mod modVis">
          <ac:chgData name="Ronny Georgi" userId="516b13485727eb9a" providerId="LiveId" clId="{669F18A1-3183-4623-B098-BEC40FDB9FF5}" dt="2022-02-13T20:24:36.501" v="835" actId="962"/>
          <ac:spMkLst>
            <pc:docMk/>
            <pc:sldMk cId="1549673556" sldId="352"/>
            <ac:spMk id="12" creationId="{C1A5482A-F5DD-4113-AC96-BBB614AEE44D}"/>
          </ac:spMkLst>
        </pc:spChg>
        <pc:spChg chg="mod modVis">
          <ac:chgData name="Ronny Georgi" userId="516b13485727eb9a" providerId="LiveId" clId="{669F18A1-3183-4623-B098-BEC40FDB9FF5}" dt="2022-02-13T20:24:36.530" v="836" actId="962"/>
          <ac:spMkLst>
            <pc:docMk/>
            <pc:sldMk cId="1549673556" sldId="352"/>
            <ac:spMk id="13" creationId="{229FE03F-74E9-4716-B695-0D2318B6CA78}"/>
          </ac:spMkLst>
        </pc:spChg>
        <pc:spChg chg="mod modVis">
          <ac:chgData name="Ronny Georgi" userId="516b13485727eb9a" providerId="LiveId" clId="{669F18A1-3183-4623-B098-BEC40FDB9FF5}" dt="2022-02-13T20:24:36.553" v="837" actId="962"/>
          <ac:spMkLst>
            <pc:docMk/>
            <pc:sldMk cId="1549673556" sldId="352"/>
            <ac:spMk id="14" creationId="{8523A605-A32B-428F-82DB-3A0ABCB2057F}"/>
          </ac:spMkLst>
        </pc:spChg>
        <pc:spChg chg="mod modVis">
          <ac:chgData name="Ronny Georgi" userId="516b13485727eb9a" providerId="LiveId" clId="{669F18A1-3183-4623-B098-BEC40FDB9FF5}" dt="2022-02-13T20:24:36.566" v="838" actId="962"/>
          <ac:spMkLst>
            <pc:docMk/>
            <pc:sldMk cId="1549673556" sldId="352"/>
            <ac:spMk id="15" creationId="{4C5C059F-E86B-40F5-A41B-D19156FB75AE}"/>
          </ac:spMkLst>
        </pc:spChg>
        <pc:spChg chg="mod modVis">
          <ac:chgData name="Ronny Georgi" userId="516b13485727eb9a" providerId="LiveId" clId="{669F18A1-3183-4623-B098-BEC40FDB9FF5}" dt="2022-02-13T20:24:36.575" v="839" actId="962"/>
          <ac:spMkLst>
            <pc:docMk/>
            <pc:sldMk cId="1549673556" sldId="352"/>
            <ac:spMk id="16" creationId="{54CA097E-A4A1-494E-85B5-C1761E7D5FFB}"/>
          </ac:spMkLst>
        </pc:spChg>
        <pc:spChg chg="mod modVis">
          <ac:chgData name="Ronny Georgi" userId="516b13485727eb9a" providerId="LiveId" clId="{669F18A1-3183-4623-B098-BEC40FDB9FF5}" dt="2022-02-13T20:24:36.587" v="840" actId="962"/>
          <ac:spMkLst>
            <pc:docMk/>
            <pc:sldMk cId="1549673556" sldId="352"/>
            <ac:spMk id="17" creationId="{22E195D5-612C-4677-A58E-5F3498914C39}"/>
          </ac:spMkLst>
        </pc:spChg>
        <pc:spChg chg="mod modVis">
          <ac:chgData name="Ronny Georgi" userId="516b13485727eb9a" providerId="LiveId" clId="{669F18A1-3183-4623-B098-BEC40FDB9FF5}" dt="2022-02-13T20:24:36.591" v="841" actId="962"/>
          <ac:spMkLst>
            <pc:docMk/>
            <pc:sldMk cId="1549673556" sldId="352"/>
            <ac:spMk id="18" creationId="{A4DF5C7D-6A98-48F5-A9A3-FEDA5A906484}"/>
          </ac:spMkLst>
        </pc:spChg>
        <pc:spChg chg="mod modVis">
          <ac:chgData name="Ronny Georgi" userId="516b13485727eb9a" providerId="LiveId" clId="{669F18A1-3183-4623-B098-BEC40FDB9FF5}" dt="2022-02-13T20:24:36.606" v="842" actId="962"/>
          <ac:spMkLst>
            <pc:docMk/>
            <pc:sldMk cId="1549673556" sldId="352"/>
            <ac:spMk id="19" creationId="{F45A8F64-4205-47F6-B2D8-FE48BD647A94}"/>
          </ac:spMkLst>
        </pc:spChg>
        <pc:spChg chg="mod modVis">
          <ac:chgData name="Ronny Georgi" userId="516b13485727eb9a" providerId="LiveId" clId="{669F18A1-3183-4623-B098-BEC40FDB9FF5}" dt="2022-02-13T20:24:36.612" v="843" actId="962"/>
          <ac:spMkLst>
            <pc:docMk/>
            <pc:sldMk cId="1549673556" sldId="352"/>
            <ac:spMk id="20" creationId="{05AE8B40-F377-4B81-BE6C-2E883E4D9067}"/>
          </ac:spMkLst>
        </pc:spChg>
        <pc:spChg chg="mod modVis">
          <ac:chgData name="Ronny Georgi" userId="516b13485727eb9a" providerId="LiveId" clId="{669F18A1-3183-4623-B098-BEC40FDB9FF5}" dt="2022-02-13T20:24:36.627" v="844" actId="962"/>
          <ac:spMkLst>
            <pc:docMk/>
            <pc:sldMk cId="1549673556" sldId="352"/>
            <ac:spMk id="21" creationId="{2565A15A-9E58-465C-80EC-00CBD8A5F2ED}"/>
          </ac:spMkLst>
        </pc:spChg>
        <pc:spChg chg="mod modVis">
          <ac:chgData name="Ronny Georgi" userId="516b13485727eb9a" providerId="LiveId" clId="{669F18A1-3183-4623-B098-BEC40FDB9FF5}" dt="2022-02-13T20:24:36.645" v="845" actId="962"/>
          <ac:spMkLst>
            <pc:docMk/>
            <pc:sldMk cId="1549673556" sldId="352"/>
            <ac:spMk id="22" creationId="{7DA1AF57-9054-4C4E-90F9-D05643AB07B1}"/>
          </ac:spMkLst>
        </pc:spChg>
        <pc:spChg chg="mod modVis">
          <ac:chgData name="Ronny Georgi" userId="516b13485727eb9a" providerId="LiveId" clId="{669F18A1-3183-4623-B098-BEC40FDB9FF5}" dt="2022-02-13T20:24:36.672" v="846" actId="962"/>
          <ac:spMkLst>
            <pc:docMk/>
            <pc:sldMk cId="1549673556" sldId="352"/>
            <ac:spMk id="23" creationId="{0BFF0AB7-F2EF-4BCF-AA1F-44ADD5E1DA79}"/>
          </ac:spMkLst>
        </pc:spChg>
        <pc:spChg chg="mod modVis">
          <ac:chgData name="Ronny Georgi" userId="516b13485727eb9a" providerId="LiveId" clId="{669F18A1-3183-4623-B098-BEC40FDB9FF5}" dt="2022-02-13T20:24:36.685" v="847" actId="962"/>
          <ac:spMkLst>
            <pc:docMk/>
            <pc:sldMk cId="1549673556" sldId="352"/>
            <ac:spMk id="24" creationId="{04FC3A7E-57A8-47AA-97AF-974504640F0A}"/>
          </ac:spMkLst>
        </pc:spChg>
        <pc:spChg chg="mod modVis">
          <ac:chgData name="Ronny Georgi" userId="516b13485727eb9a" providerId="LiveId" clId="{669F18A1-3183-4623-B098-BEC40FDB9FF5}" dt="2022-02-13T20:24:36.698" v="848" actId="962"/>
          <ac:spMkLst>
            <pc:docMk/>
            <pc:sldMk cId="1549673556" sldId="352"/>
            <ac:spMk id="25" creationId="{5DD89B40-D1B5-4177-B1C6-9BDEC75E80CB}"/>
          </ac:spMkLst>
        </pc:spChg>
        <pc:spChg chg="mod modVis">
          <ac:chgData name="Ronny Georgi" userId="516b13485727eb9a" providerId="LiveId" clId="{669F18A1-3183-4623-B098-BEC40FDB9FF5}" dt="2022-02-13T20:24:36.726" v="849" actId="962"/>
          <ac:spMkLst>
            <pc:docMk/>
            <pc:sldMk cId="1549673556" sldId="352"/>
            <ac:spMk id="26" creationId="{63BF446B-6124-400F-9FC4-06AAB8F3FFF6}"/>
          </ac:spMkLst>
        </pc:spChg>
        <pc:spChg chg="mod modVis">
          <ac:chgData name="Ronny Georgi" userId="516b13485727eb9a" providerId="LiveId" clId="{669F18A1-3183-4623-B098-BEC40FDB9FF5}" dt="2022-02-13T20:24:36.743" v="850" actId="962"/>
          <ac:spMkLst>
            <pc:docMk/>
            <pc:sldMk cId="1549673556" sldId="352"/>
            <ac:spMk id="27" creationId="{F81243BF-BB30-4986-A704-8373D24B942F}"/>
          </ac:spMkLst>
        </pc:spChg>
        <pc:spChg chg="mod modVis">
          <ac:chgData name="Ronny Georgi" userId="516b13485727eb9a" providerId="LiveId" clId="{669F18A1-3183-4623-B098-BEC40FDB9FF5}" dt="2022-02-13T20:24:36.752" v="851" actId="962"/>
          <ac:spMkLst>
            <pc:docMk/>
            <pc:sldMk cId="1549673556" sldId="352"/>
            <ac:spMk id="28" creationId="{8380011F-6BBB-41AE-A7B6-C43E0D44BC69}"/>
          </ac:spMkLst>
        </pc:spChg>
        <pc:spChg chg="mod modVis">
          <ac:chgData name="Ronny Georgi" userId="516b13485727eb9a" providerId="LiveId" clId="{669F18A1-3183-4623-B098-BEC40FDB9FF5}" dt="2022-02-13T20:24:36.765" v="852" actId="962"/>
          <ac:spMkLst>
            <pc:docMk/>
            <pc:sldMk cId="1549673556" sldId="352"/>
            <ac:spMk id="29" creationId="{FDB45487-2798-41BB-8F71-E721FFA886B5}"/>
          </ac:spMkLst>
        </pc:spChg>
        <pc:spChg chg="mod modVis">
          <ac:chgData name="Ronny Georgi" userId="516b13485727eb9a" providerId="LiveId" clId="{669F18A1-3183-4623-B098-BEC40FDB9FF5}" dt="2022-02-13T20:24:36.767" v="853" actId="962"/>
          <ac:spMkLst>
            <pc:docMk/>
            <pc:sldMk cId="1549673556" sldId="352"/>
            <ac:spMk id="30" creationId="{B3877C33-7CF1-4289-88F2-9520755BC0C7}"/>
          </ac:spMkLst>
        </pc:spChg>
        <pc:spChg chg="mod modVis">
          <ac:chgData name="Ronny Georgi" userId="516b13485727eb9a" providerId="LiveId" clId="{669F18A1-3183-4623-B098-BEC40FDB9FF5}" dt="2022-02-13T20:24:36.773" v="854" actId="962"/>
          <ac:spMkLst>
            <pc:docMk/>
            <pc:sldMk cId="1549673556" sldId="352"/>
            <ac:spMk id="31" creationId="{2212656C-08E0-4C75-902D-715CAB974152}"/>
          </ac:spMkLst>
        </pc:spChg>
        <pc:spChg chg="mod modVis">
          <ac:chgData name="Ronny Georgi" userId="516b13485727eb9a" providerId="LiveId" clId="{669F18A1-3183-4623-B098-BEC40FDB9FF5}" dt="2022-02-13T20:24:36.775" v="855" actId="962"/>
          <ac:spMkLst>
            <pc:docMk/>
            <pc:sldMk cId="1549673556" sldId="352"/>
            <ac:spMk id="32" creationId="{E81819E0-B9BB-483C-BC2C-E86DEFE8B4E3}"/>
          </ac:spMkLst>
        </pc:spChg>
        <pc:spChg chg="mod modVis">
          <ac:chgData name="Ronny Georgi" userId="516b13485727eb9a" providerId="LiveId" clId="{669F18A1-3183-4623-B098-BEC40FDB9FF5}" dt="2022-02-13T20:24:36.781" v="856" actId="962"/>
          <ac:spMkLst>
            <pc:docMk/>
            <pc:sldMk cId="1549673556" sldId="352"/>
            <ac:spMk id="33" creationId="{06039184-68D5-4ECB-B58E-E1A516EBBAC0}"/>
          </ac:spMkLst>
        </pc:spChg>
        <pc:spChg chg="mod modVis">
          <ac:chgData name="Ronny Georgi" userId="516b13485727eb9a" providerId="LiveId" clId="{669F18A1-3183-4623-B098-BEC40FDB9FF5}" dt="2022-02-13T20:24:36.792" v="857" actId="962"/>
          <ac:spMkLst>
            <pc:docMk/>
            <pc:sldMk cId="1549673556" sldId="352"/>
            <ac:spMk id="34" creationId="{7C28618C-D7D2-4EA8-B14C-EAB09C98BF95}"/>
          </ac:spMkLst>
        </pc:spChg>
        <pc:spChg chg="mod modVis">
          <ac:chgData name="Ronny Georgi" userId="516b13485727eb9a" providerId="LiveId" clId="{669F18A1-3183-4623-B098-BEC40FDB9FF5}" dt="2022-02-13T20:24:36.802" v="858" actId="962"/>
          <ac:spMkLst>
            <pc:docMk/>
            <pc:sldMk cId="1549673556" sldId="352"/>
            <ac:spMk id="35" creationId="{2888A5BB-3082-4E5B-8ACD-198F3321522C}"/>
          </ac:spMkLst>
        </pc:spChg>
        <pc:spChg chg="mod modVis">
          <ac:chgData name="Ronny Georgi" userId="516b13485727eb9a" providerId="LiveId" clId="{669F18A1-3183-4623-B098-BEC40FDB9FF5}" dt="2022-02-13T20:24:36.811" v="859" actId="962"/>
          <ac:spMkLst>
            <pc:docMk/>
            <pc:sldMk cId="1549673556" sldId="352"/>
            <ac:spMk id="36" creationId="{AD780E27-884F-4457-A035-1FC955450FAD}"/>
          </ac:spMkLst>
        </pc:spChg>
        <pc:spChg chg="mod modVis">
          <ac:chgData name="Ronny Georgi" userId="516b13485727eb9a" providerId="LiveId" clId="{669F18A1-3183-4623-B098-BEC40FDB9FF5}" dt="2022-02-13T20:24:36.821" v="860" actId="962"/>
          <ac:spMkLst>
            <pc:docMk/>
            <pc:sldMk cId="1549673556" sldId="352"/>
            <ac:spMk id="37" creationId="{3A642291-6951-4076-92E4-B2681B17C93A}"/>
          </ac:spMkLst>
        </pc:spChg>
        <pc:spChg chg="mod modVis">
          <ac:chgData name="Ronny Georgi" userId="516b13485727eb9a" providerId="LiveId" clId="{669F18A1-3183-4623-B098-BEC40FDB9FF5}" dt="2022-02-13T20:24:36.830" v="861" actId="962"/>
          <ac:spMkLst>
            <pc:docMk/>
            <pc:sldMk cId="1549673556" sldId="352"/>
            <ac:spMk id="38" creationId="{67FCA1B2-A5FD-4D94-8238-A3F3E808351B}"/>
          </ac:spMkLst>
        </pc:spChg>
        <pc:spChg chg="mod modVis">
          <ac:chgData name="Ronny Georgi" userId="516b13485727eb9a" providerId="LiveId" clId="{669F18A1-3183-4623-B098-BEC40FDB9FF5}" dt="2022-02-13T20:24:36.838" v="862" actId="962"/>
          <ac:spMkLst>
            <pc:docMk/>
            <pc:sldMk cId="1549673556" sldId="352"/>
            <ac:spMk id="39" creationId="{3AF92D53-BCA0-4171-BBE3-B05F0F42588B}"/>
          </ac:spMkLst>
        </pc:spChg>
        <pc:spChg chg="mod modVis">
          <ac:chgData name="Ronny Georgi" userId="516b13485727eb9a" providerId="LiveId" clId="{669F18A1-3183-4623-B098-BEC40FDB9FF5}" dt="2022-02-13T20:24:36.847" v="863" actId="962"/>
          <ac:spMkLst>
            <pc:docMk/>
            <pc:sldMk cId="1549673556" sldId="352"/>
            <ac:spMk id="40" creationId="{D09A5A2D-38D2-4BFB-81E8-12BA510171C3}"/>
          </ac:spMkLst>
        </pc:spChg>
        <pc:spChg chg="mod modVis">
          <ac:chgData name="Ronny Georgi" userId="516b13485727eb9a" providerId="LiveId" clId="{669F18A1-3183-4623-B098-BEC40FDB9FF5}" dt="2022-02-13T20:24:36.857" v="864" actId="962"/>
          <ac:spMkLst>
            <pc:docMk/>
            <pc:sldMk cId="1549673556" sldId="352"/>
            <ac:spMk id="41" creationId="{12694D7F-142F-4F16-B720-6C46143DF35A}"/>
          </ac:spMkLst>
        </pc:spChg>
        <pc:spChg chg="mod modVis">
          <ac:chgData name="Ronny Georgi" userId="516b13485727eb9a" providerId="LiveId" clId="{669F18A1-3183-4623-B098-BEC40FDB9FF5}" dt="2022-02-13T20:24:36.860" v="865" actId="962"/>
          <ac:spMkLst>
            <pc:docMk/>
            <pc:sldMk cId="1549673556" sldId="352"/>
            <ac:spMk id="42" creationId="{F3681CA2-9CC3-488F-B3AE-C68373E460FC}"/>
          </ac:spMkLst>
        </pc:spChg>
        <pc:spChg chg="mod modVis">
          <ac:chgData name="Ronny Georgi" userId="516b13485727eb9a" providerId="LiveId" clId="{669F18A1-3183-4623-B098-BEC40FDB9FF5}" dt="2022-02-13T20:24:36.868" v="866" actId="962"/>
          <ac:spMkLst>
            <pc:docMk/>
            <pc:sldMk cId="1549673556" sldId="352"/>
            <ac:spMk id="43" creationId="{3F37157D-C0DC-48A2-BB98-8B2ACB222C04}"/>
          </ac:spMkLst>
        </pc:spChg>
        <pc:spChg chg="mod modVis">
          <ac:chgData name="Ronny Georgi" userId="516b13485727eb9a" providerId="LiveId" clId="{669F18A1-3183-4623-B098-BEC40FDB9FF5}" dt="2022-02-13T20:24:36.870" v="867" actId="962"/>
          <ac:spMkLst>
            <pc:docMk/>
            <pc:sldMk cId="1549673556" sldId="352"/>
            <ac:spMk id="44" creationId="{1FA711AC-176C-4159-8432-B02E8C729C66}"/>
          </ac:spMkLst>
        </pc:spChg>
        <pc:cxnChg chg="del">
          <ac:chgData name="Ronny Georgi" userId="516b13485727eb9a" providerId="LiveId" clId="{669F18A1-3183-4623-B098-BEC40FDB9FF5}" dt="2022-02-13T20:24:37.444" v="995" actId="478"/>
          <ac:cxnSpMkLst>
            <pc:docMk/>
            <pc:sldMk cId="1549673556" sldId="352"/>
            <ac:cxnSpMk id="6" creationId="{C7EEB1C6-95E7-49A9-BB68-94F48F756211}"/>
          </ac:cxnSpMkLst>
        </pc:cxnChg>
      </pc:sldChg>
      <pc:sldChg chg="del">
        <pc:chgData name="Ronny Georgi" userId="516b13485727eb9a" providerId="LiveId" clId="{669F18A1-3183-4623-B098-BEC40FDB9FF5}" dt="2022-02-13T20:24:37.433" v="993" actId="2696"/>
        <pc:sldMkLst>
          <pc:docMk/>
          <pc:sldMk cId="4256104736" sldId="353"/>
        </pc:sldMkLst>
      </pc:sldChg>
      <pc:sldChg chg="del">
        <pc:chgData name="Ronny Georgi" userId="516b13485727eb9a" providerId="LiveId" clId="{669F18A1-3183-4623-B098-BEC40FDB9FF5}" dt="2022-02-13T20:24:37.427" v="992" actId="2696"/>
        <pc:sldMkLst>
          <pc:docMk/>
          <pc:sldMk cId="2009374582" sldId="35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g708a6ee8a1_0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" name="Google Shape;100;g708a6ee8a1_0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7950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65abef0139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4" name="Google Shape;644;g65abef0139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9337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g65abef0139_0_13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66" name="Google Shape;1766;g65abef0139_0_135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7592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494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65abef0139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4" name="Google Shape;644;g65abef0139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1127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65abef0139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4" name="Google Shape;644;g65abef0139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9182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922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65abef0139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4" name="Google Shape;644;g65abef0139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501313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0499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91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g65abef0139_0_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4" name="Google Shape;644;g65abef0139_0_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73387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nxth" TargetMode="Externa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bit.ly/2TtBDfr" TargetMode="External"/><Relationship Id="rId4" Type="http://schemas.openxmlformats.org/officeDocument/2006/relationships/hyperlink" Target="http://bit.ly/2TyoMsr" TargetMode="Externa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720000" y="1139150"/>
            <a:ext cx="4404000" cy="259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7200">
                <a:latin typeface="Anton"/>
                <a:ea typeface="Anton"/>
                <a:cs typeface="Anton"/>
                <a:sym typeface="Anton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720000" y="3585075"/>
            <a:ext cx="3384900" cy="4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>
                <a:latin typeface="Advent Pro Light"/>
                <a:ea typeface="Advent Pro Light"/>
                <a:cs typeface="Advent Pro Light"/>
                <a:sym typeface="Advent Pro Light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6"/>
          <p:cNvSpPr txBox="1">
            <a:spLocks noGrp="1"/>
          </p:cNvSpPr>
          <p:nvPr>
            <p:ph type="title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ítulo 1">
  <p:cSld name="TITLE_ONLY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7"/>
          <p:cNvSpPr txBox="1">
            <a:spLocks noGrp="1"/>
          </p:cNvSpPr>
          <p:nvPr>
            <p:ph type="title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BLANK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6"/>
          <p:cNvSpPr txBox="1">
            <a:spLocks noGrp="1"/>
          </p:cNvSpPr>
          <p:nvPr>
            <p:ph type="subTitle" idx="1"/>
          </p:nvPr>
        </p:nvSpPr>
        <p:spPr>
          <a:xfrm>
            <a:off x="969788" y="2630150"/>
            <a:ext cx="2213100" cy="10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/>
            </a:lvl9pPr>
          </a:lstStyle>
          <a:p>
            <a:endParaRPr/>
          </a:p>
        </p:txBody>
      </p:sp>
      <p:sp>
        <p:nvSpPr>
          <p:cNvPr id="62" name="Google Shape;62;p16"/>
          <p:cNvSpPr txBox="1">
            <a:spLocks noGrp="1"/>
          </p:cNvSpPr>
          <p:nvPr>
            <p:ph type="subTitle" idx="2"/>
          </p:nvPr>
        </p:nvSpPr>
        <p:spPr>
          <a:xfrm>
            <a:off x="5961113" y="2630150"/>
            <a:ext cx="2213100" cy="10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/>
            </a:lvl9pPr>
          </a:lstStyle>
          <a:p>
            <a:endParaRPr/>
          </a:p>
        </p:txBody>
      </p:sp>
      <p:sp>
        <p:nvSpPr>
          <p:cNvPr id="63" name="Google Shape;63;p16"/>
          <p:cNvSpPr txBox="1">
            <a:spLocks noGrp="1"/>
          </p:cNvSpPr>
          <p:nvPr>
            <p:ph type="subTitle" idx="3"/>
          </p:nvPr>
        </p:nvSpPr>
        <p:spPr>
          <a:xfrm>
            <a:off x="3465013" y="2630150"/>
            <a:ext cx="2213100" cy="10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/>
            </a:lvl9pPr>
          </a:lstStyle>
          <a:p>
            <a:endParaRPr/>
          </a:p>
        </p:txBody>
      </p:sp>
      <p:sp>
        <p:nvSpPr>
          <p:cNvPr id="64" name="Google Shape;64;p16"/>
          <p:cNvSpPr txBox="1">
            <a:spLocks noGrp="1"/>
          </p:cNvSpPr>
          <p:nvPr>
            <p:ph type="title"/>
          </p:nvPr>
        </p:nvSpPr>
        <p:spPr>
          <a:xfrm>
            <a:off x="960113" y="3723950"/>
            <a:ext cx="15393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65" name="Google Shape;65;p16"/>
          <p:cNvSpPr txBox="1">
            <a:spLocks noGrp="1"/>
          </p:cNvSpPr>
          <p:nvPr>
            <p:ph type="title" idx="4"/>
          </p:nvPr>
        </p:nvSpPr>
        <p:spPr>
          <a:xfrm>
            <a:off x="6628688" y="3723950"/>
            <a:ext cx="15393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66" name="Google Shape;66;p16"/>
          <p:cNvSpPr txBox="1">
            <a:spLocks noGrp="1"/>
          </p:cNvSpPr>
          <p:nvPr>
            <p:ph type="title" idx="5"/>
          </p:nvPr>
        </p:nvSpPr>
        <p:spPr>
          <a:xfrm>
            <a:off x="3805336" y="3723950"/>
            <a:ext cx="15393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i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67" name="Google Shape;67;p16"/>
          <p:cNvSpPr txBox="1">
            <a:spLocks noGrp="1"/>
          </p:cNvSpPr>
          <p:nvPr>
            <p:ph type="title" idx="6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BLANK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9"/>
          <p:cNvSpPr txBox="1">
            <a:spLocks noGrp="1"/>
          </p:cNvSpPr>
          <p:nvPr>
            <p:ph type="ctrTitle"/>
          </p:nvPr>
        </p:nvSpPr>
        <p:spPr>
          <a:xfrm>
            <a:off x="2562175" y="725400"/>
            <a:ext cx="4020000" cy="1462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5200"/>
              <a:buNone/>
              <a:defRPr sz="7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90" name="Google Shape;90;p19"/>
          <p:cNvSpPr txBox="1">
            <a:spLocks noGrp="1"/>
          </p:cNvSpPr>
          <p:nvPr>
            <p:ph type="subTitle" idx="1"/>
          </p:nvPr>
        </p:nvSpPr>
        <p:spPr>
          <a:xfrm>
            <a:off x="2561975" y="2225200"/>
            <a:ext cx="40200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91" name="Google Shape;91;p19"/>
          <p:cNvSpPr txBox="1"/>
          <p:nvPr/>
        </p:nvSpPr>
        <p:spPr>
          <a:xfrm>
            <a:off x="2813425" y="3796475"/>
            <a:ext cx="35175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CREDITS: This presentation template was created by </a:t>
            </a:r>
            <a:r>
              <a:rPr lang="en" sz="900" b="1">
                <a:solidFill>
                  <a:schemeClr val="lt2"/>
                </a:solidFill>
                <a:uFill>
                  <a:noFill/>
                </a:uFill>
                <a:latin typeface="Fira Sans Condensed"/>
                <a:ea typeface="Fira Sans Condensed"/>
                <a:cs typeface="Fira Sans Condensed"/>
                <a:sym typeface="Fira Sans Condense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9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, including icons by </a:t>
            </a:r>
            <a:r>
              <a:rPr lang="en" sz="900" b="1">
                <a:solidFill>
                  <a:schemeClr val="lt2"/>
                </a:solidFill>
                <a:uFill>
                  <a:noFill/>
                </a:uFill>
                <a:latin typeface="Fira Sans Condensed"/>
                <a:ea typeface="Fira Sans Condensed"/>
                <a:cs typeface="Fira Sans Condensed"/>
                <a:sym typeface="Fira Sans Condense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9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, and infographics &amp; images by </a:t>
            </a:r>
            <a:r>
              <a:rPr lang="en" sz="900" b="1">
                <a:solidFill>
                  <a:schemeClr val="lt2"/>
                </a:solidFill>
                <a:uFill>
                  <a:noFill/>
                </a:uFill>
                <a:latin typeface="Fira Sans Condensed"/>
                <a:ea typeface="Fira Sans Condensed"/>
                <a:cs typeface="Fira Sans Condensed"/>
                <a:sym typeface="Fira Sans Condense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9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. </a:t>
            </a:r>
            <a:endParaRPr sz="900">
              <a:solidFill>
                <a:schemeClr val="lt2"/>
              </a:solidFill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  <a:p>
            <a:pPr marL="0" lvl="0" indent="0" algn="ctr" rtl="0">
              <a:spcBef>
                <a:spcPts val="300"/>
              </a:spcBef>
              <a:spcAft>
                <a:spcPts val="0"/>
              </a:spcAft>
              <a:buNone/>
            </a:pPr>
            <a:endParaRPr sz="900">
              <a:solidFill>
                <a:schemeClr val="lt2"/>
              </a:solidFill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Rajdhani"/>
              <a:buNone/>
              <a:defRPr sz="2800" b="1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●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1pPr>
            <a:lvl2pPr marL="914400" lvl="1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○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2pPr>
            <a:lvl3pPr marL="1371600" lvl="2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■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3pPr>
            <a:lvl4pPr marL="1828800" lvl="3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●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4pPr>
            <a:lvl5pPr marL="2286000" lvl="4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○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5pPr>
            <a:lvl6pPr marL="2743200" lvl="5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■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6pPr>
            <a:lvl7pPr marL="3200400" lvl="6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●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7pPr>
            <a:lvl8pPr marL="3657600" lvl="7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Fira Sans Condensed Light"/>
              <a:buChar char="○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8pPr>
            <a:lvl9pPr marL="4114800" lvl="8" indent="-3048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200"/>
              <a:buFont typeface="Fira Sans Condensed Light"/>
              <a:buChar char="■"/>
              <a:defRPr sz="1200">
                <a:solidFill>
                  <a:schemeClr val="lt2"/>
                </a:solidFill>
                <a:latin typeface="Fira Sans Condensed Light"/>
                <a:ea typeface="Fira Sans Condensed Light"/>
                <a:cs typeface="Fira Sans Condensed Light"/>
                <a:sym typeface="Fira Sans Condensed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2" r:id="rId2"/>
    <p:sldLayoutId id="2147483653" r:id="rId3"/>
    <p:sldLayoutId id="2147483659" r:id="rId4"/>
    <p:sldLayoutId id="2147483662" r:id="rId5"/>
    <p:sldLayoutId id="2147483665" r:id="rId6"/>
    <p:sldLayoutId id="2147483666" r:id="rId7"/>
    <p:sldLayoutId id="2147483667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ogos-world.net/slack-logo/" TargetMode="External"/><Relationship Id="rId4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slide" Target="slide9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slide" Target="slide17.xml"/><Relationship Id="rId2" Type="http://schemas.openxmlformats.org/officeDocument/2006/relationships/tags" Target="../tags/tag62.xml"/><Relationship Id="rId16" Type="http://schemas.openxmlformats.org/officeDocument/2006/relationships/slideLayout" Target="../slideLayouts/slideLayout2.xml"/><Relationship Id="rId20" Type="http://schemas.openxmlformats.org/officeDocument/2006/relationships/slide" Target="slide3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10" Type="http://schemas.openxmlformats.org/officeDocument/2006/relationships/tags" Target="../tags/tag70.xml"/><Relationship Id="rId19" Type="http://schemas.openxmlformats.org/officeDocument/2006/relationships/slide" Target="slide5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5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9.xml"/><Relationship Id="rId2" Type="http://schemas.openxmlformats.org/officeDocument/2006/relationships/tags" Target="../tags/tag3.xml"/><Relationship Id="rId16" Type="http://schemas.openxmlformats.org/officeDocument/2006/relationships/slide" Target="slide1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1.xml"/><Relationship Id="rId19" Type="http://schemas.openxmlformats.org/officeDocument/2006/relationships/slide" Target="slide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slide" Target="slide9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slide" Target="slide17.xml"/><Relationship Id="rId2" Type="http://schemas.openxmlformats.org/officeDocument/2006/relationships/tags" Target="../tags/tag17.xml"/><Relationship Id="rId16" Type="http://schemas.openxmlformats.org/officeDocument/2006/relationships/slideLayout" Target="../slideLayouts/slideLayout2.xml"/><Relationship Id="rId20" Type="http://schemas.openxmlformats.org/officeDocument/2006/relationships/slide" Target="slide3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19" Type="http://schemas.openxmlformats.org/officeDocument/2006/relationships/slide" Target="slide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9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17.xml"/><Relationship Id="rId2" Type="http://schemas.openxmlformats.org/officeDocument/2006/relationships/tags" Target="../tags/tag32.xml"/><Relationship Id="rId16" Type="http://schemas.openxmlformats.org/officeDocument/2006/relationships/slideLayout" Target="../slideLayouts/slideLayout2.xml"/><Relationship Id="rId20" Type="http://schemas.openxmlformats.org/officeDocument/2006/relationships/slide" Target="slide3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10" Type="http://schemas.openxmlformats.org/officeDocument/2006/relationships/tags" Target="../tags/tag40.xml"/><Relationship Id="rId19" Type="http://schemas.openxmlformats.org/officeDocument/2006/relationships/slide" Target="slide5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slide" Target="slide9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slide" Target="slide17.xml"/><Relationship Id="rId2" Type="http://schemas.openxmlformats.org/officeDocument/2006/relationships/tags" Target="../tags/tag47.xml"/><Relationship Id="rId16" Type="http://schemas.openxmlformats.org/officeDocument/2006/relationships/slideLayout" Target="../slideLayouts/slideLayout2.xml"/><Relationship Id="rId20" Type="http://schemas.openxmlformats.org/officeDocument/2006/relationships/slide" Target="slide3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slide" Target="slide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4"/>
          <p:cNvSpPr txBox="1">
            <a:spLocks noGrp="1"/>
          </p:cNvSpPr>
          <p:nvPr>
            <p:ph type="ctrTitle"/>
          </p:nvPr>
        </p:nvSpPr>
        <p:spPr>
          <a:xfrm>
            <a:off x="720000" y="1139150"/>
            <a:ext cx="4404000" cy="259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4000" err="1">
                <a:latin typeface="Rajdhani"/>
                <a:ea typeface="Rajdhani"/>
                <a:cs typeface="Rajdhani"/>
                <a:sym typeface="Rajdhani"/>
              </a:rPr>
              <a:t>Voicebot</a:t>
            </a:r>
            <a:r>
              <a:rPr lang="de-DE" sz="4000">
                <a:latin typeface="Rajdhani"/>
                <a:ea typeface="Rajdhani"/>
                <a:cs typeface="Rajdhani"/>
                <a:sym typeface="Rajdhani"/>
              </a:rPr>
              <a:t> Speech-</a:t>
            </a:r>
            <a:r>
              <a:rPr lang="de-DE" sz="4000" err="1">
                <a:latin typeface="Rajdhani"/>
                <a:ea typeface="Rajdhani"/>
                <a:cs typeface="Rajdhani"/>
                <a:sym typeface="Rajdhani"/>
              </a:rPr>
              <a:t>To</a:t>
            </a:r>
            <a:r>
              <a:rPr lang="de-DE" sz="4000">
                <a:latin typeface="Rajdhani"/>
                <a:ea typeface="Rajdhani"/>
                <a:cs typeface="Rajdhani"/>
                <a:sym typeface="Rajdhani"/>
              </a:rPr>
              <a:t>-Text-</a:t>
            </a:r>
            <a:r>
              <a:rPr lang="de-DE" sz="4000" err="1">
                <a:latin typeface="Rajdhani"/>
                <a:ea typeface="Rajdhani"/>
                <a:cs typeface="Rajdhani"/>
                <a:sym typeface="Rajdhani"/>
              </a:rPr>
              <a:t>To</a:t>
            </a:r>
            <a:r>
              <a:rPr lang="de-DE" sz="4000">
                <a:latin typeface="Rajdhani"/>
                <a:ea typeface="Rajdhani"/>
                <a:cs typeface="Rajdhani"/>
                <a:sym typeface="Rajdhani"/>
              </a:rPr>
              <a:t>-Speech Components-2</a:t>
            </a:r>
          </a:p>
        </p:txBody>
      </p:sp>
      <p:sp>
        <p:nvSpPr>
          <p:cNvPr id="103" name="Google Shape;103;p24"/>
          <p:cNvSpPr txBox="1">
            <a:spLocks noGrp="1"/>
          </p:cNvSpPr>
          <p:nvPr>
            <p:ph type="subTitle" idx="1"/>
          </p:nvPr>
        </p:nvSpPr>
        <p:spPr>
          <a:xfrm>
            <a:off x="720000" y="3585074"/>
            <a:ext cx="3384900" cy="87173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Ronny Georgi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err="1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Sadaf</a:t>
            </a:r>
            <a:r>
              <a:rPr lang="de-DE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 </a:t>
            </a:r>
            <a:r>
              <a:rPr lang="de-DE" err="1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Yazdanparast</a:t>
            </a:r>
            <a:endParaRPr lang="de-DE"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Julius Kais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de-DE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</a:br>
            <a:r>
              <a:rPr lang="de-DE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Workshop 3 – Final </a:t>
            </a:r>
            <a:r>
              <a:rPr lang="de-DE" err="1">
                <a:latin typeface="Fira Sans Condensed Light"/>
                <a:ea typeface="Fira Sans Condensed Light"/>
                <a:cs typeface="Fira Sans Condensed Light"/>
                <a:sym typeface="Fira Sans Condensed Light"/>
              </a:rPr>
              <a:t>Presentation</a:t>
            </a:r>
            <a:endParaRPr lang="de-DE"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>
              <a:latin typeface="Fira Sans Condensed Light"/>
              <a:ea typeface="Fira Sans Condensed Light"/>
              <a:cs typeface="Fira Sans Condensed Light"/>
              <a:sym typeface="Fira Sans Condensed Light"/>
            </a:endParaRPr>
          </a:p>
        </p:txBody>
      </p:sp>
      <p:pic>
        <p:nvPicPr>
          <p:cNvPr id="104" name="Google Shape;104;p24"/>
          <p:cNvPicPr preferRelativeResize="0"/>
          <p:nvPr/>
        </p:nvPicPr>
        <p:blipFill rotWithShape="1">
          <a:blip r:embed="rId4">
            <a:alphaModFix/>
          </a:blip>
          <a:srcRect l="6664" t="4858" r="6220" b="5495"/>
          <a:stretch/>
        </p:blipFill>
        <p:spPr>
          <a:xfrm>
            <a:off x="4046050" y="411988"/>
            <a:ext cx="4197350" cy="4319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EA28759-12CF-4B98-9C5A-5A65A6F55C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248" y="4422137"/>
            <a:ext cx="660712" cy="49123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F92B6-A3B7-4EA0-801A-4C76291CA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75945"/>
            <a:ext cx="7704000" cy="572700"/>
          </a:xfrm>
        </p:spPr>
        <p:txBody>
          <a:bodyPr/>
          <a:lstStyle/>
          <a:p>
            <a:r>
              <a:rPr lang="en-US"/>
              <a:t>Find Train Connection</a:t>
            </a:r>
          </a:p>
        </p:txBody>
      </p:sp>
      <p:pic>
        <p:nvPicPr>
          <p:cNvPr id="8" name="Picture 7" descr="A clock in a train station with a train in the background">
            <a:extLst>
              <a:ext uri="{FF2B5EF4-FFF2-40B4-BE49-F238E27FC236}">
                <a16:creationId xmlns:a16="http://schemas.microsoft.com/office/drawing/2014/main" id="{B0FF169A-B74F-4809-A2C3-EA5793AD4A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125" y="1828799"/>
            <a:ext cx="3829749" cy="250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4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3"/>
          <p:cNvSpPr txBox="1">
            <a:spLocks noGrp="1"/>
          </p:cNvSpPr>
          <p:nvPr>
            <p:ph type="title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/>
              <a:t>AWS Lex – Demo </a:t>
            </a:r>
            <a:r>
              <a:rPr lang="de-DE" err="1"/>
              <a:t>to</a:t>
            </a:r>
            <a:r>
              <a:rPr lang="de-DE"/>
              <a:t> find </a:t>
            </a:r>
            <a:r>
              <a:rPr lang="de-DE" err="1"/>
              <a:t>train</a:t>
            </a:r>
            <a:r>
              <a:rPr lang="de-DE"/>
              <a:t> </a:t>
            </a:r>
            <a:r>
              <a:rPr lang="de-DE" err="1"/>
              <a:t>connection</a:t>
            </a:r>
            <a:r>
              <a:rPr lang="de-DE"/>
              <a:t> </a:t>
            </a:r>
            <a:br>
              <a:rPr lang="de-DE"/>
            </a:br>
            <a:endParaRPr/>
          </a:p>
        </p:txBody>
      </p:sp>
      <p:pic>
        <p:nvPicPr>
          <p:cNvPr id="2" name="Train-Demo">
            <a:hlinkClick r:id="" action="ppaction://media"/>
            <a:extLst>
              <a:ext uri="{FF2B5EF4-FFF2-40B4-BE49-F238E27FC236}">
                <a16:creationId xmlns:a16="http://schemas.microsoft.com/office/drawing/2014/main" id="{EA6920A3-4EB9-46A9-9498-482EC858739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3449" y="1043060"/>
            <a:ext cx="7289670" cy="4100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949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971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F92B6-A3B7-4EA0-801A-4C76291CA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75945"/>
            <a:ext cx="7704000" cy="572700"/>
          </a:xfrm>
        </p:spPr>
        <p:txBody>
          <a:bodyPr/>
          <a:lstStyle/>
          <a:p>
            <a:r>
              <a:rPr lang="en-US"/>
              <a:t>Find Hotel with Address</a:t>
            </a:r>
          </a:p>
        </p:txBody>
      </p:sp>
      <p:pic>
        <p:nvPicPr>
          <p:cNvPr id="4" name="Picture 3" descr="Singapore landmarks, marina bay sands and art science museum">
            <a:extLst>
              <a:ext uri="{FF2B5EF4-FFF2-40B4-BE49-F238E27FC236}">
                <a16:creationId xmlns:a16="http://schemas.microsoft.com/office/drawing/2014/main" id="{17F9C51E-3291-457B-973F-8144E330C8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2545" y="1848669"/>
            <a:ext cx="3778909" cy="250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848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F92B6-A3B7-4EA0-801A-4C76291CA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175945"/>
            <a:ext cx="7704000" cy="572700"/>
          </a:xfrm>
        </p:spPr>
        <p:txBody>
          <a:bodyPr/>
          <a:lstStyle/>
          <a:p>
            <a:r>
              <a:rPr lang="en-US"/>
              <a:t>Find Train Connection to Get to Hotel</a:t>
            </a:r>
          </a:p>
        </p:txBody>
      </p:sp>
      <p:pic>
        <p:nvPicPr>
          <p:cNvPr id="4" name="Picture 3" descr="Train passing through Chicago city">
            <a:extLst>
              <a:ext uri="{FF2B5EF4-FFF2-40B4-BE49-F238E27FC236}">
                <a16:creationId xmlns:a16="http://schemas.microsoft.com/office/drawing/2014/main" id="{59A3F9CE-DC18-4EA1-9F9F-6A90384D49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065" y="2236632"/>
            <a:ext cx="2596384" cy="1730923"/>
          </a:xfrm>
          <a:prstGeom prst="rect">
            <a:avLst/>
          </a:prstGeom>
        </p:spPr>
      </p:pic>
      <p:pic>
        <p:nvPicPr>
          <p:cNvPr id="5" name="Picture 4" descr="Singapore landmarks, marina bay sands and art science museum">
            <a:extLst>
              <a:ext uri="{FF2B5EF4-FFF2-40B4-BE49-F238E27FC236}">
                <a16:creationId xmlns:a16="http://schemas.microsoft.com/office/drawing/2014/main" id="{AD0D7F52-386D-4C8D-9249-1FB3944072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8826" y="2236632"/>
            <a:ext cx="2606109" cy="1730923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6E25AB17-CEF2-4908-B722-BA144F2A840C}"/>
              </a:ext>
            </a:extLst>
          </p:cNvPr>
          <p:cNvSpPr/>
          <p:nvPr/>
        </p:nvSpPr>
        <p:spPr>
          <a:xfrm>
            <a:off x="3291840" y="2736333"/>
            <a:ext cx="2490952" cy="731520"/>
          </a:xfrm>
          <a:prstGeom prst="rightArrow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543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3"/>
          <p:cNvSpPr txBox="1">
            <a:spLocks noGrp="1"/>
          </p:cNvSpPr>
          <p:nvPr>
            <p:ph type="title"/>
          </p:nvPr>
        </p:nvSpPr>
        <p:spPr>
          <a:xfrm>
            <a:off x="368408" y="509825"/>
            <a:ext cx="849530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/>
              <a:t>AWS Lex – Demo </a:t>
            </a:r>
            <a:r>
              <a:rPr lang="de-DE" err="1"/>
              <a:t>to</a:t>
            </a:r>
            <a:r>
              <a:rPr lang="de-DE"/>
              <a:t> find </a:t>
            </a:r>
            <a:r>
              <a:rPr lang="de-DE" err="1"/>
              <a:t>hotel</a:t>
            </a:r>
            <a:r>
              <a:rPr lang="de-DE"/>
              <a:t> and </a:t>
            </a:r>
            <a:r>
              <a:rPr lang="de-DE" err="1"/>
              <a:t>trai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hotel</a:t>
            </a:r>
            <a:br>
              <a:rPr lang="de-DE"/>
            </a:br>
            <a:endParaRPr/>
          </a:p>
        </p:txBody>
      </p:sp>
      <p:pic>
        <p:nvPicPr>
          <p:cNvPr id="2" name="Hotel&amp;Train-Demo">
            <a:hlinkClick r:id="" action="ppaction://media"/>
            <a:extLst>
              <a:ext uri="{FF2B5EF4-FFF2-40B4-BE49-F238E27FC236}">
                <a16:creationId xmlns:a16="http://schemas.microsoft.com/office/drawing/2014/main" id="{EA6DC8DD-C9A8-4C58-9894-533559F64A2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27159" y="986504"/>
            <a:ext cx="7370172" cy="4145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559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197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F92B6-A3B7-4EA0-801A-4C76291CA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71" y="586897"/>
            <a:ext cx="3409340" cy="572700"/>
          </a:xfrm>
        </p:spPr>
        <p:txBody>
          <a:bodyPr/>
          <a:lstStyle/>
          <a:p>
            <a:r>
              <a:rPr lang="en-US" sz="2400"/>
              <a:t>Our </a:t>
            </a:r>
            <a:r>
              <a:rPr lang="en-US" sz="2400" err="1"/>
              <a:t>Travelbot</a:t>
            </a:r>
            <a:r>
              <a:rPr lang="en-US" sz="2400"/>
              <a:t> is also integrated into the Messenger Service: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B07C65F-BDD7-457F-86C3-E7A577EAF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550" y="2427873"/>
            <a:ext cx="2666433" cy="1091654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545ADA0D-52F8-4449-8CC1-47C312EF1440}"/>
              </a:ext>
            </a:extLst>
          </p:cNvPr>
          <p:cNvSpPr txBox="1">
            <a:spLocks/>
          </p:cNvSpPr>
          <p:nvPr/>
        </p:nvSpPr>
        <p:spPr>
          <a:xfrm>
            <a:off x="5166927" y="586896"/>
            <a:ext cx="3409340" cy="16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Rajdhani"/>
              <a:buNone/>
              <a:defRPr sz="3000" b="1" i="0" u="none" strike="noStrike" cap="none">
                <a:solidFill>
                  <a:schemeClr val="lt2"/>
                </a:solidFill>
                <a:latin typeface="Rajdhani"/>
                <a:ea typeface="Rajdhani"/>
                <a:cs typeface="Rajdhani"/>
                <a:sym typeface="Rajdhani"/>
              </a:defRPr>
            </a:lvl9pPr>
          </a:lstStyle>
          <a:p>
            <a:r>
              <a:rPr lang="en-US" sz="2400"/>
              <a:t>You can also interact with our </a:t>
            </a:r>
            <a:r>
              <a:rPr lang="en-US" sz="2400" err="1"/>
              <a:t>Travelbot</a:t>
            </a:r>
            <a:r>
              <a:rPr lang="en-US" sz="2400"/>
              <a:t> on your Smartphone via the Slack App</a:t>
            </a:r>
          </a:p>
        </p:txBody>
      </p:sp>
      <p:pic>
        <p:nvPicPr>
          <p:cNvPr id="1030" name="Picture 6" descr="Bildvorschau">
            <a:extLst>
              <a:ext uri="{FF2B5EF4-FFF2-40B4-BE49-F238E27FC236}">
                <a16:creationId xmlns:a16="http://schemas.microsoft.com/office/drawing/2014/main" id="{F7EC2A5D-1535-4162-88CF-F7656F2B3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4044" y="2427873"/>
            <a:ext cx="1209260" cy="257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51018A-9985-420F-A2C7-AE41BEDBCF61}"/>
              </a:ext>
            </a:extLst>
          </p:cNvPr>
          <p:cNvSpPr txBox="1"/>
          <p:nvPr/>
        </p:nvSpPr>
        <p:spPr>
          <a:xfrm>
            <a:off x="676295" y="3675548"/>
            <a:ext cx="26664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rgbClr val="FFFFFF"/>
                </a:solidFill>
              </a:rPr>
              <a:t>Source: </a:t>
            </a:r>
            <a:r>
              <a:rPr lang="en-US" sz="1100">
                <a:solidFill>
                  <a:srgbClr val="FFFFFF"/>
                </a:solidFill>
                <a:hlinkClick r:id="rId5"/>
              </a:rPr>
              <a:t>https://logos-world.net/slack-logo/</a:t>
            </a:r>
            <a:endParaRPr lang="en-US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7638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3"/>
          <p:cNvSpPr txBox="1">
            <a:spLocks noGrp="1"/>
          </p:cNvSpPr>
          <p:nvPr>
            <p:ph type="title"/>
          </p:nvPr>
        </p:nvSpPr>
        <p:spPr>
          <a:xfrm>
            <a:off x="368408" y="509825"/>
            <a:ext cx="849530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/>
              <a:t>AWS Lex – Demo </a:t>
            </a:r>
            <a:r>
              <a:rPr lang="de-DE" err="1"/>
              <a:t>to</a:t>
            </a:r>
            <a:r>
              <a:rPr lang="de-DE"/>
              <a:t> find </a:t>
            </a:r>
            <a:r>
              <a:rPr lang="de-DE" err="1"/>
              <a:t>hotel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Slack</a:t>
            </a:r>
            <a:r>
              <a:rPr lang="de-DE"/>
              <a:t> </a:t>
            </a:r>
            <a:r>
              <a:rPr lang="de-DE" err="1"/>
              <a:t>app</a:t>
            </a:r>
            <a:r>
              <a:rPr lang="de-DE"/>
              <a:t> </a:t>
            </a:r>
            <a:br>
              <a:rPr lang="de-DE"/>
            </a:br>
            <a:endParaRPr/>
          </a:p>
        </p:txBody>
      </p:sp>
      <p:pic>
        <p:nvPicPr>
          <p:cNvPr id="2" name="Slack-Demo1(1)">
            <a:hlinkClick r:id="" action="ppaction://media"/>
            <a:extLst>
              <a:ext uri="{FF2B5EF4-FFF2-40B4-BE49-F238E27FC236}">
                <a16:creationId xmlns:a16="http://schemas.microsoft.com/office/drawing/2014/main" id="{DCD366E9-E47B-452F-95EC-BFDB26B3EBB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1639" y="1026049"/>
            <a:ext cx="7276199" cy="4092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21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3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5EB55309-0AD5-430A-9533-A0748E967C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7959" y="3108505"/>
            <a:ext cx="10697307" cy="40011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Rectangle 15">
            <a:hlinkClick r:id="rId17" action="ppaction://hlinksldjump"/>
            <a:extLst>
              <a:ext uri="{FF2B5EF4-FFF2-40B4-BE49-F238E27FC236}">
                <a16:creationId xmlns:a16="http://schemas.microsoft.com/office/drawing/2014/main" id="{D4F42994-873E-42ED-B4A9-6C4B837049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00484" y="310850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Rectangle 14">
            <a:hlinkClick r:id="rId17" action="ppaction://hlinksldjump"/>
            <a:extLst>
              <a:ext uri="{FF2B5EF4-FFF2-40B4-BE49-F238E27FC236}">
                <a16:creationId xmlns:a16="http://schemas.microsoft.com/office/drawing/2014/main" id="{2ABC5FA4-F0EF-446E-BE29-C91A6E11494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7959" y="310850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4" name="Rectangle 13">
            <a:hlinkClick r:id="rId17" action="ppaction://hlinksldjump"/>
            <a:extLst>
              <a:ext uri="{FF2B5EF4-FFF2-40B4-BE49-F238E27FC236}">
                <a16:creationId xmlns:a16="http://schemas.microsoft.com/office/drawing/2014/main" id="{998CC014-D712-4A63-87EC-41F6569289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Rectangle 12">
            <a:hlinkClick r:id="rId18" action="ppaction://hlinksldjump"/>
            <a:extLst>
              <a:ext uri="{FF2B5EF4-FFF2-40B4-BE49-F238E27FC236}">
                <a16:creationId xmlns:a16="http://schemas.microsoft.com/office/drawing/2014/main" id="{6C5D579B-D6C2-4489-8AB5-8137F8400F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00484" y="264489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hlinkClick r:id="rId18" action="ppaction://hlinksldjump"/>
            <a:extLst>
              <a:ext uri="{FF2B5EF4-FFF2-40B4-BE49-F238E27FC236}">
                <a16:creationId xmlns:a16="http://schemas.microsoft.com/office/drawing/2014/main" id="{DF7C7603-3C56-4E1D-BF32-AC7AC1BA4A8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Demo</a:t>
            </a:r>
          </a:p>
        </p:txBody>
      </p:sp>
      <p:sp>
        <p:nvSpPr>
          <p:cNvPr id="11" name="Rectangle 10">
            <a:hlinkClick r:id="rId18" action="ppaction://hlinksldjump"/>
            <a:extLst>
              <a:ext uri="{FF2B5EF4-FFF2-40B4-BE49-F238E27FC236}">
                <a16:creationId xmlns:a16="http://schemas.microsoft.com/office/drawing/2014/main" id="{0CCDBD32-89AE-44D0-B148-05CBD0270B5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Rectangle 9">
            <a:hlinkClick r:id="rId19" action="ppaction://hlinksldjump"/>
            <a:extLst>
              <a:ext uri="{FF2B5EF4-FFF2-40B4-BE49-F238E27FC236}">
                <a16:creationId xmlns:a16="http://schemas.microsoft.com/office/drawing/2014/main" id="{722D2486-E817-43DE-A28C-1C9CD8B7C0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100484" y="218128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hlinkClick r:id="rId19" action="ppaction://hlinksldjump"/>
            <a:extLst>
              <a:ext uri="{FF2B5EF4-FFF2-40B4-BE49-F238E27FC236}">
                <a16:creationId xmlns:a16="http://schemas.microsoft.com/office/drawing/2014/main" id="{2AA1796C-22C0-48ED-AA28-38A7159A7CF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Results &amp; </a:t>
            </a:r>
            <a:r>
              <a:rPr lang="en-US" sz="1600" b="1" err="1">
                <a:solidFill>
                  <a:schemeClr val="tx1"/>
                </a:solidFill>
              </a:rPr>
              <a:t>Realisation</a:t>
            </a:r>
            <a:r>
              <a:rPr lang="en-US" sz="1600" b="1">
                <a:solidFill>
                  <a:schemeClr val="tx1"/>
                </a:solidFill>
              </a:rPr>
              <a:t> Details</a:t>
            </a:r>
          </a:p>
        </p:txBody>
      </p:sp>
      <p:sp>
        <p:nvSpPr>
          <p:cNvPr id="8" name="Rectangle 7">
            <a:hlinkClick r:id="rId19" action="ppaction://hlinksldjump"/>
            <a:extLst>
              <a:ext uri="{FF2B5EF4-FFF2-40B4-BE49-F238E27FC236}">
                <a16:creationId xmlns:a16="http://schemas.microsoft.com/office/drawing/2014/main" id="{58E816D0-023A-4B16-A2CF-5CF4655A6E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0" action="ppaction://hlinksldjump"/>
            <a:extLst>
              <a:ext uri="{FF2B5EF4-FFF2-40B4-BE49-F238E27FC236}">
                <a16:creationId xmlns:a16="http://schemas.microsoft.com/office/drawing/2014/main" id="{F0165619-BA58-4D1B-A969-DDA34A29732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100484" y="171767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20" action="ppaction://hlinksldjump"/>
            <a:extLst>
              <a:ext uri="{FF2B5EF4-FFF2-40B4-BE49-F238E27FC236}">
                <a16:creationId xmlns:a16="http://schemas.microsoft.com/office/drawing/2014/main" id="{3A470AB5-BC40-4667-965E-583B6A0FC97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rap-up: Problem Statement</a:t>
            </a:r>
          </a:p>
        </p:txBody>
      </p:sp>
      <p:sp>
        <p:nvSpPr>
          <p:cNvPr id="5" name="Rectangle 4">
            <a:hlinkClick r:id="rId20" action="ppaction://hlinksldjump"/>
            <a:extLst>
              <a:ext uri="{FF2B5EF4-FFF2-40B4-BE49-F238E27FC236}">
                <a16:creationId xmlns:a16="http://schemas.microsoft.com/office/drawing/2014/main" id="{9B4CE042-6762-4C0E-B983-AB6B963885F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ACF716-5D9F-4829-AF3B-D142D005F773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7411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73989-89D2-4DBF-A302-DC81E90FB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Conclusion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D7D35C-D2DF-4774-B751-DE60D3DF3D39}"/>
              </a:ext>
            </a:extLst>
          </p:cNvPr>
          <p:cNvSpPr txBox="1"/>
          <p:nvPr/>
        </p:nvSpPr>
        <p:spPr>
          <a:xfrm>
            <a:off x="800888" y="1374753"/>
            <a:ext cx="7703574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>
                <a:solidFill>
                  <a:srgbClr val="FFFFFF"/>
                </a:solidFill>
              </a:rPr>
              <a:t>AWS Lex </a:t>
            </a:r>
            <a:r>
              <a:rPr lang="de-DE" b="1" err="1">
                <a:solidFill>
                  <a:srgbClr val="FFFFFF"/>
                </a:solidFill>
              </a:rPr>
              <a:t>proved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to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be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best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framework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for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our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use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case</a:t>
            </a:r>
            <a:r>
              <a:rPr lang="de-DE" b="1">
                <a:solidFill>
                  <a:srgbClr val="FFFFFF"/>
                </a:solidFill>
              </a:rPr>
              <a:t>:</a:t>
            </a:r>
          </a:p>
          <a:p>
            <a:endParaRPr lang="de-DE">
              <a:solidFill>
                <a:srgbClr val="FFFFFF"/>
              </a:solidFill>
            </a:endParaRPr>
          </a:p>
          <a:p>
            <a:r>
              <a:rPr lang="de-DE">
                <a:solidFill>
                  <a:srgbClr val="FFFFFF"/>
                </a:solidFill>
              </a:rPr>
              <a:t>               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FFFFF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FFFFF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FFFFFF"/>
              </a:solidFill>
            </a:endParaRPr>
          </a:p>
          <a:p>
            <a:endParaRPr lang="de-DE">
              <a:solidFill>
                <a:srgbClr val="FFFFFF"/>
              </a:solidFill>
            </a:endParaRPr>
          </a:p>
          <a:p>
            <a:endParaRPr lang="de-DE">
              <a:solidFill>
                <a:srgbClr val="FFFFF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err="1">
                <a:solidFill>
                  <a:srgbClr val="FFFFFF"/>
                </a:solidFill>
              </a:rPr>
              <a:t>When</a:t>
            </a:r>
            <a:r>
              <a:rPr lang="de-DE" b="1">
                <a:solidFill>
                  <a:srgbClr val="FFFFFF"/>
                </a:solidFill>
              </a:rPr>
              <a:t> </a:t>
            </a:r>
            <a:r>
              <a:rPr lang="de-DE" b="1" err="1">
                <a:solidFill>
                  <a:srgbClr val="FFFFFF"/>
                </a:solidFill>
              </a:rPr>
              <a:t>availability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to</a:t>
            </a:r>
            <a:r>
              <a:rPr lang="de-DE" b="1">
                <a:solidFill>
                  <a:srgbClr val="FFFFFF"/>
                </a:solidFill>
              </a:rPr>
              <a:t> large and </a:t>
            </a:r>
            <a:r>
              <a:rPr lang="de-DE" b="1" err="1">
                <a:solidFill>
                  <a:srgbClr val="FFFFFF"/>
                </a:solidFill>
              </a:rPr>
              <a:t>up</a:t>
            </a:r>
            <a:r>
              <a:rPr lang="de-DE" b="1">
                <a:solidFill>
                  <a:srgbClr val="FFFFFF"/>
                </a:solidFill>
              </a:rPr>
              <a:t>-</a:t>
            </a:r>
            <a:r>
              <a:rPr lang="de-DE" b="1" err="1">
                <a:solidFill>
                  <a:srgbClr val="FFFFFF"/>
                </a:solidFill>
              </a:rPr>
              <a:t>to</a:t>
            </a:r>
            <a:r>
              <a:rPr lang="de-DE" b="1">
                <a:solidFill>
                  <a:srgbClr val="FFFFFF"/>
                </a:solidFill>
              </a:rPr>
              <a:t>-date </a:t>
            </a:r>
            <a:r>
              <a:rPr lang="de-DE" b="1" err="1">
                <a:solidFill>
                  <a:srgbClr val="FFFFFF"/>
                </a:solidFill>
              </a:rPr>
              <a:t>data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sets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is</a:t>
            </a:r>
            <a:r>
              <a:rPr lang="de-DE" b="1">
                <a:solidFill>
                  <a:srgbClr val="FFFFFF"/>
                </a:solidFill>
              </a:rPr>
              <a:t> </a:t>
            </a:r>
            <a:r>
              <a:rPr lang="de-DE" b="1" err="1">
                <a:solidFill>
                  <a:srgbClr val="FFFFFF"/>
                </a:solidFill>
              </a:rPr>
              <a:t>given</a:t>
            </a:r>
            <a:r>
              <a:rPr lang="de-DE" b="1">
                <a:solidFill>
                  <a:srgbClr val="FFFFFF"/>
                </a:solidFill>
              </a:rPr>
              <a:t>: 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403F8977-461D-4DE7-982B-B59E857D96BC}"/>
              </a:ext>
            </a:extLst>
          </p:cNvPr>
          <p:cNvSpPr/>
          <p:nvPr/>
        </p:nvSpPr>
        <p:spPr>
          <a:xfrm>
            <a:off x="1229293" y="1801896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7770E9DE-0DAF-4FD6-A1D5-1DF698299614}"/>
              </a:ext>
            </a:extLst>
          </p:cNvPr>
          <p:cNvSpPr/>
          <p:nvPr/>
        </p:nvSpPr>
        <p:spPr>
          <a:xfrm>
            <a:off x="1229293" y="2169574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1E85912-3BE9-458F-B13F-6218E42B0A34}"/>
              </a:ext>
            </a:extLst>
          </p:cNvPr>
          <p:cNvSpPr/>
          <p:nvPr/>
        </p:nvSpPr>
        <p:spPr>
          <a:xfrm>
            <a:off x="1229293" y="2537252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42560B13-B2FF-4625-BE1F-F0AA10EE384D}"/>
              </a:ext>
            </a:extLst>
          </p:cNvPr>
          <p:cNvSpPr/>
          <p:nvPr/>
        </p:nvSpPr>
        <p:spPr>
          <a:xfrm>
            <a:off x="1229293" y="3520392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5762EE64-ED8C-4F55-9863-466D36733193}"/>
              </a:ext>
            </a:extLst>
          </p:cNvPr>
          <p:cNvSpPr/>
          <p:nvPr/>
        </p:nvSpPr>
        <p:spPr>
          <a:xfrm>
            <a:off x="1229293" y="3872085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4834F-4A4A-4008-91B2-AD89006F1572}"/>
              </a:ext>
            </a:extLst>
          </p:cNvPr>
          <p:cNvSpPr txBox="1"/>
          <p:nvPr/>
        </p:nvSpPr>
        <p:spPr>
          <a:xfrm>
            <a:off x="1808618" y="1802623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best possible integration of other technolog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D56257-57A0-4030-B6FD-F1A0A2BBBCFB}"/>
              </a:ext>
            </a:extLst>
          </p:cNvPr>
          <p:cNvSpPr txBox="1"/>
          <p:nvPr/>
        </p:nvSpPr>
        <p:spPr>
          <a:xfrm>
            <a:off x="1808618" y="2154315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highest degree of customizab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CEC5D9-39E2-4910-A653-EDBF0151510E}"/>
              </a:ext>
            </a:extLst>
          </p:cNvPr>
          <p:cNvSpPr txBox="1"/>
          <p:nvPr/>
        </p:nvSpPr>
        <p:spPr>
          <a:xfrm>
            <a:off x="1808618" y="2521994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good processing of speech input and outpu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0A7CD-04E9-4BBF-99CE-CC4DCB206E0F}"/>
              </a:ext>
            </a:extLst>
          </p:cNvPr>
          <p:cNvSpPr txBox="1"/>
          <p:nvPr/>
        </p:nvSpPr>
        <p:spPr>
          <a:xfrm>
            <a:off x="1808618" y="3521120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err="1">
                <a:solidFill>
                  <a:srgbClr val="FFFFFF"/>
                </a:solidFill>
              </a:rPr>
              <a:t>voicebots</a:t>
            </a:r>
            <a:r>
              <a:rPr lang="en-US">
                <a:solidFill>
                  <a:srgbClr val="FFFFFF"/>
                </a:solidFill>
              </a:rPr>
              <a:t> can represent a real alternative to human travel ag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5D790C-2657-40FD-AC0C-DFC5049648F7}"/>
              </a:ext>
            </a:extLst>
          </p:cNvPr>
          <p:cNvSpPr txBox="1"/>
          <p:nvPr/>
        </p:nvSpPr>
        <p:spPr>
          <a:xfrm>
            <a:off x="1808618" y="3856826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their usage could decrease cost while also increasing revenue`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98167CF9-CFD9-4BBF-8E3D-C04CEB0CB522}"/>
              </a:ext>
            </a:extLst>
          </p:cNvPr>
          <p:cNvSpPr/>
          <p:nvPr/>
        </p:nvSpPr>
        <p:spPr>
          <a:xfrm>
            <a:off x="1229293" y="4223777"/>
            <a:ext cx="410905" cy="292800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1D5C2F-035C-40E7-9704-3F8476A0E759}"/>
              </a:ext>
            </a:extLst>
          </p:cNvPr>
          <p:cNvSpPr txBox="1"/>
          <p:nvPr/>
        </p:nvSpPr>
        <p:spPr>
          <a:xfrm>
            <a:off x="1808618" y="4216511"/>
            <a:ext cx="57885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an integration of booking services would even increase their usefulness</a:t>
            </a:r>
          </a:p>
        </p:txBody>
      </p:sp>
    </p:spTree>
    <p:extLst>
      <p:ext uri="{BB962C8B-B14F-4D97-AF65-F5344CB8AC3E}">
        <p14:creationId xmlns:p14="http://schemas.microsoft.com/office/powerpoint/2010/main" val="7581895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8" name="Google Shape;1768;p46"/>
          <p:cNvSpPr txBox="1">
            <a:spLocks noGrp="1"/>
          </p:cNvSpPr>
          <p:nvPr>
            <p:ph type="ctrTitle"/>
          </p:nvPr>
        </p:nvSpPr>
        <p:spPr>
          <a:xfrm>
            <a:off x="2562175" y="725400"/>
            <a:ext cx="4020000" cy="1462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!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79699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hlinkClick r:id="rId16" action="ppaction://hlinksldjump"/>
            <a:extLst>
              <a:ext uri="{FF2B5EF4-FFF2-40B4-BE49-F238E27FC236}">
                <a16:creationId xmlns:a16="http://schemas.microsoft.com/office/drawing/2014/main" id="{3D6824B2-571C-45A1-A7DD-1ED9319F70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0484" y="310850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Rectangle 14">
            <a:hlinkClick r:id="rId16" action="ppaction://hlinksldjump"/>
            <a:extLst>
              <a:ext uri="{FF2B5EF4-FFF2-40B4-BE49-F238E27FC236}">
                <a16:creationId xmlns:a16="http://schemas.microsoft.com/office/drawing/2014/main" id="{DF5EEC6C-0775-433C-8DD3-8A5386BF95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4" name="Rectangle 13">
            <a:hlinkClick r:id="rId16" action="ppaction://hlinksldjump"/>
            <a:extLst>
              <a:ext uri="{FF2B5EF4-FFF2-40B4-BE49-F238E27FC236}">
                <a16:creationId xmlns:a16="http://schemas.microsoft.com/office/drawing/2014/main" id="{0CA54B91-D80A-4E7E-94BA-E511F17DF7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Rectangle 12">
            <a:hlinkClick r:id="rId17" action="ppaction://hlinksldjump"/>
            <a:extLst>
              <a:ext uri="{FF2B5EF4-FFF2-40B4-BE49-F238E27FC236}">
                <a16:creationId xmlns:a16="http://schemas.microsoft.com/office/drawing/2014/main" id="{12816CDF-EC9A-47E2-9C47-99EE3EBC4F9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00484" y="264489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hlinkClick r:id="rId17" action="ppaction://hlinksldjump"/>
            <a:extLst>
              <a:ext uri="{FF2B5EF4-FFF2-40B4-BE49-F238E27FC236}">
                <a16:creationId xmlns:a16="http://schemas.microsoft.com/office/drawing/2014/main" id="{DC2449DF-0FC1-49AD-BBAA-0286FD656C5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Demo</a:t>
            </a:r>
          </a:p>
        </p:txBody>
      </p:sp>
      <p:sp>
        <p:nvSpPr>
          <p:cNvPr id="11" name="Rectangle 10">
            <a:hlinkClick r:id="rId17" action="ppaction://hlinksldjump"/>
            <a:extLst>
              <a:ext uri="{FF2B5EF4-FFF2-40B4-BE49-F238E27FC236}">
                <a16:creationId xmlns:a16="http://schemas.microsoft.com/office/drawing/2014/main" id="{D7A98785-D93C-4196-8A7D-F95977C7708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Rectangle 9">
            <a:hlinkClick r:id="rId18" action="ppaction://hlinksldjump"/>
            <a:extLst>
              <a:ext uri="{FF2B5EF4-FFF2-40B4-BE49-F238E27FC236}">
                <a16:creationId xmlns:a16="http://schemas.microsoft.com/office/drawing/2014/main" id="{0BEFEB79-4841-4999-AC9D-97E472C662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100484" y="218128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837FBA11-2840-4960-B22E-9E19817D064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Results &amp; </a:t>
            </a:r>
            <a:r>
              <a:rPr lang="en-US" sz="1600" b="1" err="1">
                <a:solidFill>
                  <a:schemeClr val="tx1"/>
                </a:solidFill>
              </a:rPr>
              <a:t>Realisation</a:t>
            </a:r>
            <a:r>
              <a:rPr lang="en-US" sz="1600" b="1">
                <a:solidFill>
                  <a:schemeClr val="tx1"/>
                </a:solidFill>
              </a:rPr>
              <a:t> Details</a:t>
            </a:r>
          </a:p>
        </p:txBody>
      </p:sp>
      <p:sp>
        <p:nvSpPr>
          <p:cNvPr id="8" name="Rectangle 7">
            <a:hlinkClick r:id="rId18" action="ppaction://hlinksldjump"/>
            <a:extLst>
              <a:ext uri="{FF2B5EF4-FFF2-40B4-BE49-F238E27FC236}">
                <a16:creationId xmlns:a16="http://schemas.microsoft.com/office/drawing/2014/main" id="{9271DCE7-EC53-4CCF-A9C4-F762F5EC475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19" action="ppaction://hlinksldjump"/>
            <a:extLst>
              <a:ext uri="{FF2B5EF4-FFF2-40B4-BE49-F238E27FC236}">
                <a16:creationId xmlns:a16="http://schemas.microsoft.com/office/drawing/2014/main" id="{85334429-B12C-4544-B86C-5FCFC88D059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100484" y="171767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19" action="ppaction://hlinksldjump"/>
            <a:extLst>
              <a:ext uri="{FF2B5EF4-FFF2-40B4-BE49-F238E27FC236}">
                <a16:creationId xmlns:a16="http://schemas.microsoft.com/office/drawing/2014/main" id="{21B74FD7-6611-4178-818A-956B28FA5E2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7959" y="171767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rap-up: Problem Statement</a:t>
            </a:r>
          </a:p>
        </p:txBody>
      </p:sp>
      <p:sp>
        <p:nvSpPr>
          <p:cNvPr id="5" name="Rectangle 4">
            <a:hlinkClick r:id="rId19" action="ppaction://hlinksldjump"/>
            <a:extLst>
              <a:ext uri="{FF2B5EF4-FFF2-40B4-BE49-F238E27FC236}">
                <a16:creationId xmlns:a16="http://schemas.microsoft.com/office/drawing/2014/main" id="{774EF1B2-EE8E-4D04-B4CA-A0EFDFA09F7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91A56E-3962-4BF9-9D48-50D3DA287EA8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2647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rId17" action="ppaction://hlinksldjump"/>
            <a:extLst>
              <a:ext uri="{FF2B5EF4-FFF2-40B4-BE49-F238E27FC236}">
                <a16:creationId xmlns:a16="http://schemas.microsoft.com/office/drawing/2014/main" id="{28F2FA8F-7AFB-4DA7-8D57-86AF49375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0484" y="310850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Rectangle 15">
            <a:hlinkClick r:id="rId17" action="ppaction://hlinksldjump"/>
            <a:extLst>
              <a:ext uri="{FF2B5EF4-FFF2-40B4-BE49-F238E27FC236}">
                <a16:creationId xmlns:a16="http://schemas.microsoft.com/office/drawing/2014/main" id="{478D3A85-AF3D-4566-BB7A-42A33B6FB2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5" name="Rectangle 14">
            <a:hlinkClick r:id="rId17" action="ppaction://hlinksldjump"/>
            <a:extLst>
              <a:ext uri="{FF2B5EF4-FFF2-40B4-BE49-F238E27FC236}">
                <a16:creationId xmlns:a16="http://schemas.microsoft.com/office/drawing/2014/main" id="{728D08FA-850B-4A87-9F51-98830DCB2CD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Rectangle 13">
            <a:hlinkClick r:id="rId18" action="ppaction://hlinksldjump"/>
            <a:extLst>
              <a:ext uri="{FF2B5EF4-FFF2-40B4-BE49-F238E27FC236}">
                <a16:creationId xmlns:a16="http://schemas.microsoft.com/office/drawing/2014/main" id="{B7A702A4-8B16-4E48-B447-7FBFDA1F090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00484" y="264489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Rectangle 12">
            <a:hlinkClick r:id="rId18" action="ppaction://hlinksldjump"/>
            <a:extLst>
              <a:ext uri="{FF2B5EF4-FFF2-40B4-BE49-F238E27FC236}">
                <a16:creationId xmlns:a16="http://schemas.microsoft.com/office/drawing/2014/main" id="{28CF13EC-F64B-4015-865A-6F17D77247E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Demo</a:t>
            </a:r>
          </a:p>
        </p:txBody>
      </p:sp>
      <p:sp>
        <p:nvSpPr>
          <p:cNvPr id="12" name="Rectangle 11">
            <a:hlinkClick r:id="rId18" action="ppaction://hlinksldjump"/>
            <a:extLst>
              <a:ext uri="{FF2B5EF4-FFF2-40B4-BE49-F238E27FC236}">
                <a16:creationId xmlns:a16="http://schemas.microsoft.com/office/drawing/2014/main" id="{E2532F9E-10D2-479A-A726-DADA50C73F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Rectangle 10">
            <a:hlinkClick r:id="rId19" action="ppaction://hlinksldjump"/>
            <a:extLst>
              <a:ext uri="{FF2B5EF4-FFF2-40B4-BE49-F238E27FC236}">
                <a16:creationId xmlns:a16="http://schemas.microsoft.com/office/drawing/2014/main" id="{A22B7470-7578-434A-A633-0C1BD6F5D62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100484" y="218128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Rectangle 9">
            <a:hlinkClick r:id="rId19" action="ppaction://hlinksldjump"/>
            <a:extLst>
              <a:ext uri="{FF2B5EF4-FFF2-40B4-BE49-F238E27FC236}">
                <a16:creationId xmlns:a16="http://schemas.microsoft.com/office/drawing/2014/main" id="{5A622948-6561-4C64-B05E-909937D8AD1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77959" y="218128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Results &amp; </a:t>
            </a:r>
            <a:r>
              <a:rPr lang="en-US" sz="1600" b="1" err="1">
                <a:solidFill>
                  <a:schemeClr val="tx1"/>
                </a:solidFill>
              </a:rPr>
              <a:t>Realisation</a:t>
            </a:r>
            <a:r>
              <a:rPr lang="en-US" sz="1600" b="1">
                <a:solidFill>
                  <a:schemeClr val="tx1"/>
                </a:solidFill>
              </a:rPr>
              <a:t> Details</a:t>
            </a:r>
          </a:p>
        </p:txBody>
      </p:sp>
      <p:sp>
        <p:nvSpPr>
          <p:cNvPr id="9" name="Rectangle 8">
            <a:hlinkClick r:id="rId19" action="ppaction://hlinksldjump"/>
            <a:extLst>
              <a:ext uri="{FF2B5EF4-FFF2-40B4-BE49-F238E27FC236}">
                <a16:creationId xmlns:a16="http://schemas.microsoft.com/office/drawing/2014/main" id="{43C644B6-5700-4111-9792-B6DFD56F83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F7EB21-D2FD-4D26-82CA-8A73293B8BB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77959" y="1717675"/>
            <a:ext cx="10697307" cy="40011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Rectangle 6">
            <a:hlinkClick r:id="rId20" action="ppaction://hlinksldjump"/>
            <a:extLst>
              <a:ext uri="{FF2B5EF4-FFF2-40B4-BE49-F238E27FC236}">
                <a16:creationId xmlns:a16="http://schemas.microsoft.com/office/drawing/2014/main" id="{4AC7A819-8268-4861-BBD1-84D67AD30C2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100484" y="171767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20" action="ppaction://hlinksldjump"/>
            <a:extLst>
              <a:ext uri="{FF2B5EF4-FFF2-40B4-BE49-F238E27FC236}">
                <a16:creationId xmlns:a16="http://schemas.microsoft.com/office/drawing/2014/main" id="{07309CD3-45F0-4CDA-B5FA-C6984544666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rap-up: Problem Statement</a:t>
            </a:r>
          </a:p>
        </p:txBody>
      </p:sp>
      <p:sp>
        <p:nvSpPr>
          <p:cNvPr id="5" name="Rectangle 4">
            <a:hlinkClick r:id="rId20" action="ppaction://hlinksldjump"/>
            <a:extLst>
              <a:ext uri="{FF2B5EF4-FFF2-40B4-BE49-F238E27FC236}">
                <a16:creationId xmlns:a16="http://schemas.microsoft.com/office/drawing/2014/main" id="{6138C515-203C-44A4-850D-00F6F9EFFB7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AFBEEF-9E89-4FC4-81B2-2EA334A96961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84554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F92B6-A3B7-4EA0-801A-4C76291CA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pdated - Problem Statemen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0992DFF-D7F5-4896-95EB-B36B07F1121C}"/>
              </a:ext>
            </a:extLst>
          </p:cNvPr>
          <p:cNvSpPr/>
          <p:nvPr/>
        </p:nvSpPr>
        <p:spPr>
          <a:xfrm>
            <a:off x="934407" y="1983104"/>
            <a:ext cx="3619592" cy="2868930"/>
          </a:xfrm>
          <a:prstGeom prst="rect">
            <a:avLst/>
          </a:prstGeom>
          <a:ln>
            <a:solidFill>
              <a:srgbClr val="049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Tourism</a:t>
            </a:r>
            <a:r>
              <a:rPr lang="de-DE" sz="1200">
                <a:solidFill>
                  <a:schemeClr val="tx2"/>
                </a:solidFill>
              </a:rPr>
              <a:t> and </a:t>
            </a:r>
            <a:r>
              <a:rPr lang="en-US" sz="1200">
                <a:solidFill>
                  <a:schemeClr val="tx2"/>
                </a:solidFill>
              </a:rPr>
              <a:t>hospitality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en-US" sz="1200">
                <a:solidFill>
                  <a:schemeClr val="tx2"/>
                </a:solidFill>
              </a:rPr>
              <a:t>industry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are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very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information</a:t>
            </a:r>
            <a:r>
              <a:rPr lang="de-DE" sz="1200">
                <a:solidFill>
                  <a:schemeClr val="tx2"/>
                </a:solidFill>
              </a:rPr>
              <a:t>-intensiv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200" err="1">
                <a:solidFill>
                  <a:schemeClr val="tx2"/>
                </a:solidFill>
              </a:rPr>
              <a:t>It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demands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regular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communication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with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customers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who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en-US" sz="1200">
                <a:solidFill>
                  <a:schemeClr val="tx2"/>
                </a:solidFill>
              </a:rPr>
              <a:t>want to be up-to-date with firms offering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they seek this information through websites and other mediums such as phone calls and instant messaging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To maintain communication channels: tourism and hospitality firms spend large sums of money annually on inquiry and desk officers</a:t>
            </a:r>
            <a:endParaRPr lang="de-DE" sz="1200">
              <a:solidFill>
                <a:schemeClr val="tx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9100D29-0C77-45D4-B624-F12310E7EBF1}"/>
              </a:ext>
            </a:extLst>
          </p:cNvPr>
          <p:cNvSpPr/>
          <p:nvPr/>
        </p:nvSpPr>
        <p:spPr>
          <a:xfrm>
            <a:off x="4589999" y="1983103"/>
            <a:ext cx="3619592" cy="2868931"/>
          </a:xfrm>
          <a:prstGeom prst="rect">
            <a:avLst/>
          </a:prstGeom>
          <a:ln>
            <a:solidFill>
              <a:srgbClr val="049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customer service saves money through bots by automating tasks and unclogging call centers</a:t>
            </a: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bots assist users in navigating websites, thus shortening time and assisting in quick decision-making</a:t>
            </a: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for train travel: bots can find suitable train connections by gathering information like time, date, destination, and other preferences </a:t>
            </a: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For hotel reservation: find hotels within certain location area, with a desired star rating and present user the address of those hotels</a:t>
            </a: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after hotel is found </a:t>
            </a:r>
            <a:r>
              <a:rPr lang="de-DE" sz="120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r>
              <a:rPr lang="en-US" sz="1200">
                <a:solidFill>
                  <a:schemeClr val="tx2"/>
                </a:solidFill>
              </a:rPr>
              <a:t> find train to get to hotel</a:t>
            </a: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2"/>
                </a:solidFill>
              </a:rPr>
              <a:t>build social relationships with customers, maintain customer confidence in trains and hotel chains</a:t>
            </a:r>
          </a:p>
          <a:p>
            <a:pPr lvl="2">
              <a:buClr>
                <a:srgbClr val="FFFFFF"/>
              </a:buClr>
            </a:pPr>
            <a:r>
              <a:rPr lang="en-US" sz="1200">
                <a:solidFill>
                  <a:schemeClr val="tx2"/>
                </a:solidFill>
              </a:rPr>
              <a:t>          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9F7C31B-B77E-41EE-8D60-94A2697E212F}"/>
              </a:ext>
            </a:extLst>
          </p:cNvPr>
          <p:cNvSpPr/>
          <p:nvPr/>
        </p:nvSpPr>
        <p:spPr>
          <a:xfrm>
            <a:off x="934407" y="1382775"/>
            <a:ext cx="3619592" cy="565784"/>
          </a:xfrm>
          <a:prstGeom prst="rect">
            <a:avLst/>
          </a:prstGeom>
          <a:ln>
            <a:solidFill>
              <a:srgbClr val="049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>
                <a:solidFill>
                  <a:schemeClr val="tx2"/>
                </a:solidFill>
              </a:rPr>
              <a:t>Situation in </a:t>
            </a:r>
            <a:r>
              <a:rPr lang="de-DE" err="1">
                <a:solidFill>
                  <a:schemeClr val="tx2"/>
                </a:solidFill>
              </a:rPr>
              <a:t>Tourism</a:t>
            </a:r>
            <a:r>
              <a:rPr lang="de-DE">
                <a:solidFill>
                  <a:schemeClr val="tx2"/>
                </a:solidFill>
              </a:rPr>
              <a:t> Industry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A9ADA55-DEAE-40D5-AA11-718EF54AB072}"/>
              </a:ext>
            </a:extLst>
          </p:cNvPr>
          <p:cNvSpPr/>
          <p:nvPr/>
        </p:nvSpPr>
        <p:spPr>
          <a:xfrm>
            <a:off x="4589999" y="1382775"/>
            <a:ext cx="3619592" cy="565784"/>
          </a:xfrm>
          <a:prstGeom prst="rect">
            <a:avLst/>
          </a:prstGeom>
          <a:ln>
            <a:solidFill>
              <a:srgbClr val="049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>
                <a:solidFill>
                  <a:schemeClr val="tx2"/>
                </a:solidFill>
              </a:rPr>
              <a:t>Solutions </a:t>
            </a:r>
            <a:r>
              <a:rPr lang="de-DE" err="1">
                <a:solidFill>
                  <a:schemeClr val="tx2"/>
                </a:solidFill>
              </a:rPr>
              <a:t>offered</a:t>
            </a:r>
            <a:r>
              <a:rPr lang="de-DE">
                <a:solidFill>
                  <a:schemeClr val="tx2"/>
                </a:solidFill>
              </a:rPr>
              <a:t> </a:t>
            </a:r>
            <a:r>
              <a:rPr lang="de-DE" err="1">
                <a:solidFill>
                  <a:schemeClr val="tx2"/>
                </a:solidFill>
              </a:rPr>
              <a:t>through</a:t>
            </a:r>
            <a:r>
              <a:rPr lang="de-DE">
                <a:solidFill>
                  <a:schemeClr val="tx2"/>
                </a:solidFill>
              </a:rPr>
              <a:t> </a:t>
            </a:r>
            <a:r>
              <a:rPr lang="de-DE" err="1">
                <a:solidFill>
                  <a:schemeClr val="tx2"/>
                </a:solidFill>
              </a:rPr>
              <a:t>Voicebot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6" name="Grafik 5" descr="Route zwei Stecknadeln mit Weg mit einfarbiger Füllung">
            <a:extLst>
              <a:ext uri="{FF2B5EF4-FFF2-40B4-BE49-F238E27FC236}">
                <a16:creationId xmlns:a16="http://schemas.microsoft.com/office/drawing/2014/main" id="{C33801AE-28E0-4301-98A0-39CD66A601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4412" y="1453223"/>
            <a:ext cx="457201" cy="457201"/>
          </a:xfrm>
          <a:prstGeom prst="rect">
            <a:avLst/>
          </a:prstGeom>
        </p:spPr>
      </p:pic>
      <p:pic>
        <p:nvPicPr>
          <p:cNvPr id="13" name="Grafik 12" descr="Offene Hand mit Pflanze Silhouette">
            <a:extLst>
              <a:ext uri="{FF2B5EF4-FFF2-40B4-BE49-F238E27FC236}">
                <a16:creationId xmlns:a16="http://schemas.microsoft.com/office/drawing/2014/main" id="{4F150AE7-D0C0-4F3D-ABB5-786DE20BF3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1153" y="1453223"/>
            <a:ext cx="457201" cy="45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9677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rId17" action="ppaction://hlinksldjump"/>
            <a:extLst>
              <a:ext uri="{FF2B5EF4-FFF2-40B4-BE49-F238E27FC236}">
                <a16:creationId xmlns:a16="http://schemas.microsoft.com/office/drawing/2014/main" id="{1AB34D77-4645-46B0-8C1B-245D119F25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0484" y="310850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Rectangle 15">
            <a:hlinkClick r:id="rId17" action="ppaction://hlinksldjump"/>
            <a:extLst>
              <a:ext uri="{FF2B5EF4-FFF2-40B4-BE49-F238E27FC236}">
                <a16:creationId xmlns:a16="http://schemas.microsoft.com/office/drawing/2014/main" id="{9E6B93E5-E431-46B7-AC3C-C0881009CE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5" name="Rectangle 14">
            <a:hlinkClick r:id="rId17" action="ppaction://hlinksldjump"/>
            <a:extLst>
              <a:ext uri="{FF2B5EF4-FFF2-40B4-BE49-F238E27FC236}">
                <a16:creationId xmlns:a16="http://schemas.microsoft.com/office/drawing/2014/main" id="{F65135A9-1839-417B-A7FC-F62FB6F4245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Rectangle 13">
            <a:hlinkClick r:id="rId18" action="ppaction://hlinksldjump"/>
            <a:extLst>
              <a:ext uri="{FF2B5EF4-FFF2-40B4-BE49-F238E27FC236}">
                <a16:creationId xmlns:a16="http://schemas.microsoft.com/office/drawing/2014/main" id="{B0D3791E-7F80-4C78-8167-5CAED50DB64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00484" y="264489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Rectangle 12">
            <a:hlinkClick r:id="rId18" action="ppaction://hlinksldjump"/>
            <a:extLst>
              <a:ext uri="{FF2B5EF4-FFF2-40B4-BE49-F238E27FC236}">
                <a16:creationId xmlns:a16="http://schemas.microsoft.com/office/drawing/2014/main" id="{A4740372-5367-4A13-A299-E0A77F0E4D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77959" y="264489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Demo</a:t>
            </a:r>
          </a:p>
        </p:txBody>
      </p:sp>
      <p:sp>
        <p:nvSpPr>
          <p:cNvPr id="12" name="Rectangle 11">
            <a:hlinkClick r:id="rId18" action="ppaction://hlinksldjump"/>
            <a:extLst>
              <a:ext uri="{FF2B5EF4-FFF2-40B4-BE49-F238E27FC236}">
                <a16:creationId xmlns:a16="http://schemas.microsoft.com/office/drawing/2014/main" id="{19E74CD9-5FEC-43EB-B4F7-23A9962976C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19ED7D-C1BF-4394-AC17-F44E1C5CCB0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77959" y="2181285"/>
            <a:ext cx="10697307" cy="40011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Rectangle 9">
            <a:hlinkClick r:id="rId19" action="ppaction://hlinksldjump"/>
            <a:extLst>
              <a:ext uri="{FF2B5EF4-FFF2-40B4-BE49-F238E27FC236}">
                <a16:creationId xmlns:a16="http://schemas.microsoft.com/office/drawing/2014/main" id="{A59741AE-4670-46CA-9D2E-43B0FF575DD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100484" y="218128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hlinkClick r:id="rId19" action="ppaction://hlinksldjump"/>
            <a:extLst>
              <a:ext uri="{FF2B5EF4-FFF2-40B4-BE49-F238E27FC236}">
                <a16:creationId xmlns:a16="http://schemas.microsoft.com/office/drawing/2014/main" id="{A35A0017-26D3-46A3-86B3-93C416B388D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Results &amp; </a:t>
            </a:r>
            <a:r>
              <a:rPr lang="en-US" sz="1600" b="1" err="1">
                <a:solidFill>
                  <a:schemeClr val="tx1"/>
                </a:solidFill>
              </a:rPr>
              <a:t>Realisation</a:t>
            </a:r>
            <a:r>
              <a:rPr lang="en-US" sz="1600" b="1">
                <a:solidFill>
                  <a:schemeClr val="tx1"/>
                </a:solidFill>
              </a:rPr>
              <a:t> Details</a:t>
            </a:r>
          </a:p>
        </p:txBody>
      </p:sp>
      <p:sp>
        <p:nvSpPr>
          <p:cNvPr id="8" name="Rectangle 7">
            <a:hlinkClick r:id="rId19" action="ppaction://hlinksldjump"/>
            <a:extLst>
              <a:ext uri="{FF2B5EF4-FFF2-40B4-BE49-F238E27FC236}">
                <a16:creationId xmlns:a16="http://schemas.microsoft.com/office/drawing/2014/main" id="{42039166-0490-44C1-9026-0D79325797E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0" action="ppaction://hlinksldjump"/>
            <a:extLst>
              <a:ext uri="{FF2B5EF4-FFF2-40B4-BE49-F238E27FC236}">
                <a16:creationId xmlns:a16="http://schemas.microsoft.com/office/drawing/2014/main" id="{7062BFE5-BAEB-4AA3-9999-92517315E44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100484" y="171767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20" action="ppaction://hlinksldjump"/>
            <a:extLst>
              <a:ext uri="{FF2B5EF4-FFF2-40B4-BE49-F238E27FC236}">
                <a16:creationId xmlns:a16="http://schemas.microsoft.com/office/drawing/2014/main" id="{05F9465A-B83A-459E-A90D-3688D279FB5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rap-up: Problem Statement</a:t>
            </a:r>
          </a:p>
        </p:txBody>
      </p:sp>
      <p:sp>
        <p:nvSpPr>
          <p:cNvPr id="5" name="Rectangle 4">
            <a:hlinkClick r:id="rId20" action="ppaction://hlinksldjump"/>
            <a:extLst>
              <a:ext uri="{FF2B5EF4-FFF2-40B4-BE49-F238E27FC236}">
                <a16:creationId xmlns:a16="http://schemas.microsoft.com/office/drawing/2014/main" id="{94AB23AE-26CB-494D-A726-2C89206F398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445438-4EC9-4AC9-8DB8-9E170FD1A781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8770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CAB164-51F2-4C8B-BBE9-FC9B692A4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al Results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69DC80EE-04A2-4870-8E0B-D4839A5234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016233"/>
              </p:ext>
            </p:extLst>
          </p:nvPr>
        </p:nvGraphicFramePr>
        <p:xfrm>
          <a:off x="183908" y="1284634"/>
          <a:ext cx="8776183" cy="3349041"/>
        </p:xfrm>
        <a:graphic>
          <a:graphicData uri="http://schemas.openxmlformats.org/drawingml/2006/table">
            <a:tbl>
              <a:tblPr firstRow="1" bandRow="1">
                <a:tableStyleId>{C2AB2DED-7D61-4789-B118-652A2F273E4F}</a:tableStyleId>
              </a:tblPr>
              <a:tblGrid>
                <a:gridCol w="1149988">
                  <a:extLst>
                    <a:ext uri="{9D8B030D-6E8A-4147-A177-3AD203B41FA5}">
                      <a16:colId xmlns:a16="http://schemas.microsoft.com/office/drawing/2014/main" val="3460748661"/>
                    </a:ext>
                  </a:extLst>
                </a:gridCol>
                <a:gridCol w="1044057">
                  <a:extLst>
                    <a:ext uri="{9D8B030D-6E8A-4147-A177-3AD203B41FA5}">
                      <a16:colId xmlns:a16="http://schemas.microsoft.com/office/drawing/2014/main" val="3143195849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3686136868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2641433644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2373341200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2589044680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514071296"/>
                    </a:ext>
                  </a:extLst>
                </a:gridCol>
                <a:gridCol w="1097023">
                  <a:extLst>
                    <a:ext uri="{9D8B030D-6E8A-4147-A177-3AD203B41FA5}">
                      <a16:colId xmlns:a16="http://schemas.microsoft.com/office/drawing/2014/main" val="2334768823"/>
                    </a:ext>
                  </a:extLst>
                </a:gridCol>
              </a:tblGrid>
              <a:tr h="509221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Difficultness and complexity of 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initial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 setup</a:t>
                      </a:r>
                      <a:endParaRPr lang="en-US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Intuitiveness of GUI for 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bot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 creation</a:t>
                      </a:r>
                      <a:endParaRPr lang="en-US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pability to integrate variety of data &amp; making use of it</a:t>
                      </a:r>
                      <a:endParaRPr lang="en-US" sz="1200">
                        <a:highlight>
                          <a:srgbClr val="049089"/>
                        </a:highlight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Availibility of good understand-dable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 docu-mentation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 material with 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examples</a:t>
                      </a:r>
                      <a:endParaRPr lang="en-US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Processing of speech input and voice output</a:t>
                      </a:r>
                      <a:endParaRPr lang="en-US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omplex task processing capabilities</a:t>
                      </a:r>
                      <a:endParaRPr lang="en-US" sz="1200">
                        <a:highlight>
                          <a:srgbClr val="049089"/>
                        </a:highlight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PI connectivity opportunities</a:t>
                      </a:r>
                      <a:endParaRPr lang="en-US" sz="1200">
                        <a:highlight>
                          <a:srgbClr val="049089"/>
                        </a:highlight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588629"/>
                  </a:ext>
                </a:extLst>
              </a:tr>
              <a:tr h="659147">
                <a:tc>
                  <a:txBody>
                    <a:bodyPr/>
                    <a:lstStyle/>
                    <a:p>
                      <a:r>
                        <a:rPr lang="en-US" b="1" i="1" err="1">
                          <a:solidFill>
                            <a:srgbClr val="FFFFFF"/>
                          </a:solidFill>
                        </a:rPr>
                        <a:t>Dialogflow</a:t>
                      </a:r>
                      <a:endParaRPr lang="en-US" b="1" i="1">
                        <a:solidFill>
                          <a:srgbClr val="FFFF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497444"/>
                  </a:ext>
                </a:extLst>
              </a:tr>
              <a:tr h="659147">
                <a:tc>
                  <a:txBody>
                    <a:bodyPr/>
                    <a:lstStyle/>
                    <a:p>
                      <a:r>
                        <a:rPr lang="en-US" b="1" i="1">
                          <a:solidFill>
                            <a:srgbClr val="FFFFFF"/>
                          </a:solidFill>
                        </a:rPr>
                        <a:t>Ra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5624096"/>
                  </a:ext>
                </a:extLst>
              </a:tr>
              <a:tr h="659147">
                <a:tc>
                  <a:txBody>
                    <a:bodyPr/>
                    <a:lstStyle/>
                    <a:p>
                      <a:r>
                        <a:rPr lang="en-US" b="1" i="1">
                          <a:solidFill>
                            <a:srgbClr val="FFFFFF"/>
                          </a:solidFill>
                        </a:rPr>
                        <a:t>Amazon L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0134816"/>
                  </a:ext>
                </a:extLst>
              </a:tr>
            </a:tbl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949F61DE-147F-4A32-864A-20AB55428952}"/>
              </a:ext>
            </a:extLst>
          </p:cNvPr>
          <p:cNvSpPr txBox="1"/>
          <p:nvPr/>
        </p:nvSpPr>
        <p:spPr>
          <a:xfrm>
            <a:off x="96252" y="4743879"/>
            <a:ext cx="79399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rgbClr val="FFFFFF"/>
                </a:solidFill>
              </a:rPr>
              <a:t>Legend:		Exceptional	Good		Average		Poor </a:t>
            </a:r>
          </a:p>
        </p:txBody>
      </p:sp>
      <p:pic>
        <p:nvPicPr>
          <p:cNvPr id="9" name="Grafik 8" descr="Marke Herz mit einfarbiger Füllung">
            <a:extLst>
              <a:ext uri="{FF2B5EF4-FFF2-40B4-BE49-F238E27FC236}">
                <a16:creationId xmlns:a16="http://schemas.microsoft.com/office/drawing/2014/main" id="{8365D0B4-A951-4707-8F90-304C042A79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3667" y="4633675"/>
            <a:ext cx="504412" cy="504412"/>
          </a:xfrm>
          <a:prstGeom prst="rect">
            <a:avLst/>
          </a:prstGeom>
        </p:spPr>
      </p:pic>
      <p:pic>
        <p:nvPicPr>
          <p:cNvPr id="11" name="Grafik 10" descr="Marke folgen mit einfarbiger Füllung">
            <a:extLst>
              <a:ext uri="{FF2B5EF4-FFF2-40B4-BE49-F238E27FC236}">
                <a16:creationId xmlns:a16="http://schemas.microsoft.com/office/drawing/2014/main" id="{ECD71318-6FA9-4C9E-BC39-5C7C3953E5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7838" y="4633675"/>
            <a:ext cx="504412" cy="504412"/>
          </a:xfrm>
          <a:prstGeom prst="rect">
            <a:avLst/>
          </a:prstGeom>
        </p:spPr>
      </p:pic>
      <p:pic>
        <p:nvPicPr>
          <p:cNvPr id="13" name="Grafik 12" descr="Markee nicht mehr folgen mit einfarbiger Füllung">
            <a:extLst>
              <a:ext uri="{FF2B5EF4-FFF2-40B4-BE49-F238E27FC236}">
                <a16:creationId xmlns:a16="http://schemas.microsoft.com/office/drawing/2014/main" id="{F25C6F51-D4AF-4659-93F1-B52FF2756A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70970" y="4633675"/>
            <a:ext cx="504412" cy="504412"/>
          </a:xfrm>
          <a:prstGeom prst="rect">
            <a:avLst/>
          </a:prstGeom>
        </p:spPr>
      </p:pic>
      <p:pic>
        <p:nvPicPr>
          <p:cNvPr id="15" name="Grafik 14" descr="Abzeichen Tick1 mit einfarbiger Füllung">
            <a:extLst>
              <a:ext uri="{FF2B5EF4-FFF2-40B4-BE49-F238E27FC236}">
                <a16:creationId xmlns:a16="http://schemas.microsoft.com/office/drawing/2014/main" id="{660FA9C7-D2D6-4483-B12B-868EF13BBF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39404" y="4633675"/>
            <a:ext cx="504412" cy="504412"/>
          </a:xfrm>
          <a:prstGeom prst="rect">
            <a:avLst/>
          </a:prstGeom>
        </p:spPr>
      </p:pic>
      <p:pic>
        <p:nvPicPr>
          <p:cNvPr id="16" name="Grafik 15" descr="Abzeichen Tick1 mit einfarbiger Füllung">
            <a:extLst>
              <a:ext uri="{FF2B5EF4-FFF2-40B4-BE49-F238E27FC236}">
                <a16:creationId xmlns:a16="http://schemas.microsoft.com/office/drawing/2014/main" id="{EE78299B-2054-4DD5-9BAC-B078546CFD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86077" y="4054028"/>
            <a:ext cx="504412" cy="504412"/>
          </a:xfrm>
          <a:prstGeom prst="rect">
            <a:avLst/>
          </a:prstGeom>
        </p:spPr>
      </p:pic>
      <p:pic>
        <p:nvPicPr>
          <p:cNvPr id="17" name="Grafik 16" descr="Marke folgen mit einfarbiger Füllung">
            <a:extLst>
              <a:ext uri="{FF2B5EF4-FFF2-40B4-BE49-F238E27FC236}">
                <a16:creationId xmlns:a16="http://schemas.microsoft.com/office/drawing/2014/main" id="{73E9D33A-D992-4E4B-8F2A-B2437678EB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71283" y="4054028"/>
            <a:ext cx="504412" cy="504412"/>
          </a:xfrm>
          <a:prstGeom prst="rect">
            <a:avLst/>
          </a:prstGeom>
        </p:spPr>
      </p:pic>
      <p:pic>
        <p:nvPicPr>
          <p:cNvPr id="18" name="Grafik 17" descr="Abzeichen Tick1 mit einfarbiger Füllung">
            <a:extLst>
              <a:ext uri="{FF2B5EF4-FFF2-40B4-BE49-F238E27FC236}">
                <a16:creationId xmlns:a16="http://schemas.microsoft.com/office/drawing/2014/main" id="{E00469C6-3E0D-4732-88B1-84CCF88C880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56489" y="4054028"/>
            <a:ext cx="504412" cy="504412"/>
          </a:xfrm>
          <a:prstGeom prst="rect">
            <a:avLst/>
          </a:prstGeom>
        </p:spPr>
      </p:pic>
      <p:pic>
        <p:nvPicPr>
          <p:cNvPr id="19" name="Grafik 18" descr="Abzeichen Tick1 mit einfarbiger Füllung">
            <a:extLst>
              <a:ext uri="{FF2B5EF4-FFF2-40B4-BE49-F238E27FC236}">
                <a16:creationId xmlns:a16="http://schemas.microsoft.com/office/drawing/2014/main" id="{C0461A3E-01EA-426F-95ED-DB24BF614F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87197" y="4054028"/>
            <a:ext cx="504412" cy="504412"/>
          </a:xfrm>
          <a:prstGeom prst="rect">
            <a:avLst/>
          </a:prstGeom>
        </p:spPr>
      </p:pic>
      <p:pic>
        <p:nvPicPr>
          <p:cNvPr id="20" name="Grafik 14" descr="Abzeichen Tick1 mit einfarbiger Füllung">
            <a:extLst>
              <a:ext uri="{FF2B5EF4-FFF2-40B4-BE49-F238E27FC236}">
                <a16:creationId xmlns:a16="http://schemas.microsoft.com/office/drawing/2014/main" id="{345B515B-8F56-4187-9D18-D9B8318D9B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64653" y="3358707"/>
            <a:ext cx="504412" cy="504412"/>
          </a:xfrm>
          <a:prstGeom prst="rect">
            <a:avLst/>
          </a:prstGeom>
        </p:spPr>
      </p:pic>
      <p:pic>
        <p:nvPicPr>
          <p:cNvPr id="21" name="Grafik 12" descr="Markee nicht mehr folgen mit einfarbiger Füllung">
            <a:extLst>
              <a:ext uri="{FF2B5EF4-FFF2-40B4-BE49-F238E27FC236}">
                <a16:creationId xmlns:a16="http://schemas.microsoft.com/office/drawing/2014/main" id="{BD24004F-F034-4604-90B4-EB3B78C33C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2408" y="3385979"/>
            <a:ext cx="504412" cy="504412"/>
          </a:xfrm>
          <a:prstGeom prst="rect">
            <a:avLst/>
          </a:prstGeom>
        </p:spPr>
      </p:pic>
      <p:pic>
        <p:nvPicPr>
          <p:cNvPr id="24" name="Grafik 10" descr="Marke folgen mit einfarbiger Füllung">
            <a:extLst>
              <a:ext uri="{FF2B5EF4-FFF2-40B4-BE49-F238E27FC236}">
                <a16:creationId xmlns:a16="http://schemas.microsoft.com/office/drawing/2014/main" id="{55D77B18-DB9B-4D8C-B605-8392D75A4A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66590" y="3385979"/>
            <a:ext cx="504412" cy="504412"/>
          </a:xfrm>
          <a:prstGeom prst="rect">
            <a:avLst/>
          </a:prstGeom>
        </p:spPr>
      </p:pic>
      <p:pic>
        <p:nvPicPr>
          <p:cNvPr id="25" name="Grafik 10" descr="Marke folgen mit einfarbiger Füllung">
            <a:extLst>
              <a:ext uri="{FF2B5EF4-FFF2-40B4-BE49-F238E27FC236}">
                <a16:creationId xmlns:a16="http://schemas.microsoft.com/office/drawing/2014/main" id="{D5EA884D-AAD1-4B52-8CA0-0C24C93643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87197" y="3385979"/>
            <a:ext cx="504412" cy="504412"/>
          </a:xfrm>
          <a:prstGeom prst="rect">
            <a:avLst/>
          </a:prstGeom>
        </p:spPr>
      </p:pic>
      <p:pic>
        <p:nvPicPr>
          <p:cNvPr id="26" name="Grafik 8" descr="Marke Herz mit einfarbiger Füllung">
            <a:extLst>
              <a:ext uri="{FF2B5EF4-FFF2-40B4-BE49-F238E27FC236}">
                <a16:creationId xmlns:a16="http://schemas.microsoft.com/office/drawing/2014/main" id="{6590A9BF-6014-420A-837E-A7763EA059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55908" y="4054028"/>
            <a:ext cx="504412" cy="504412"/>
          </a:xfrm>
          <a:prstGeom prst="rect">
            <a:avLst/>
          </a:prstGeom>
        </p:spPr>
      </p:pic>
      <p:pic>
        <p:nvPicPr>
          <p:cNvPr id="27" name="Grafik 14" descr="Abzeichen Tick1 mit einfarbiger Füllung">
            <a:extLst>
              <a:ext uri="{FF2B5EF4-FFF2-40B4-BE49-F238E27FC236}">
                <a16:creationId xmlns:a16="http://schemas.microsoft.com/office/drawing/2014/main" id="{E3C6340D-1394-4EB3-BE4D-C2CCC52A04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64653" y="4054028"/>
            <a:ext cx="504412" cy="504412"/>
          </a:xfrm>
          <a:prstGeom prst="rect">
            <a:avLst/>
          </a:prstGeom>
        </p:spPr>
      </p:pic>
      <p:pic>
        <p:nvPicPr>
          <p:cNvPr id="28" name="Grafik 10" descr="Marke folgen mit einfarbiger Füllung">
            <a:extLst>
              <a:ext uri="{FF2B5EF4-FFF2-40B4-BE49-F238E27FC236}">
                <a16:creationId xmlns:a16="http://schemas.microsoft.com/office/drawing/2014/main" id="{EB283156-4029-4F2C-A04A-59F02D9CAE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1487" y="4054028"/>
            <a:ext cx="504412" cy="504412"/>
          </a:xfrm>
          <a:prstGeom prst="rect">
            <a:avLst/>
          </a:prstGeom>
        </p:spPr>
      </p:pic>
      <p:pic>
        <p:nvPicPr>
          <p:cNvPr id="29" name="Grafik 14" descr="Abzeichen Tick1 mit einfarbiger Füllung">
            <a:extLst>
              <a:ext uri="{FF2B5EF4-FFF2-40B4-BE49-F238E27FC236}">
                <a16:creationId xmlns:a16="http://schemas.microsoft.com/office/drawing/2014/main" id="{E7AA09FB-8B7B-43D3-8AED-94B9BF9F5E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56779" y="3379779"/>
            <a:ext cx="504412" cy="504412"/>
          </a:xfrm>
          <a:prstGeom prst="rect">
            <a:avLst/>
          </a:prstGeom>
        </p:spPr>
      </p:pic>
      <p:pic>
        <p:nvPicPr>
          <p:cNvPr id="30" name="Grafik 12" descr="Markee nicht mehr folgen mit einfarbiger Füllung">
            <a:extLst>
              <a:ext uri="{FF2B5EF4-FFF2-40B4-BE49-F238E27FC236}">
                <a16:creationId xmlns:a16="http://schemas.microsoft.com/office/drawing/2014/main" id="{13DAF0AD-1786-4A0A-8A43-C357A10BAE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86077" y="3417308"/>
            <a:ext cx="504412" cy="504412"/>
          </a:xfrm>
          <a:prstGeom prst="rect">
            <a:avLst/>
          </a:prstGeom>
        </p:spPr>
      </p:pic>
      <p:pic>
        <p:nvPicPr>
          <p:cNvPr id="31" name="Grafik 10" descr="Marke folgen mit einfarbiger Füllung">
            <a:extLst>
              <a:ext uri="{FF2B5EF4-FFF2-40B4-BE49-F238E27FC236}">
                <a16:creationId xmlns:a16="http://schemas.microsoft.com/office/drawing/2014/main" id="{1A36952E-A909-4CB8-8596-492FAE7E8E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79323" y="3417308"/>
            <a:ext cx="504412" cy="504412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E11FCF1E-76D2-42CE-981B-924C3E6FAEBC}"/>
              </a:ext>
            </a:extLst>
          </p:cNvPr>
          <p:cNvCxnSpPr/>
          <p:nvPr/>
        </p:nvCxnSpPr>
        <p:spPr>
          <a:xfrm>
            <a:off x="186237" y="1275285"/>
            <a:ext cx="1162183" cy="1409966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A8CF2C4-59CF-44B8-8BF9-3D32810D0686}"/>
              </a:ext>
            </a:extLst>
          </p:cNvPr>
          <p:cNvSpPr txBox="1"/>
          <p:nvPr/>
        </p:nvSpPr>
        <p:spPr>
          <a:xfrm>
            <a:off x="130086" y="2186287"/>
            <a:ext cx="109664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/>
              <a:t>Framework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D21C5C-957B-4A2A-A47E-91CE468361A3}"/>
              </a:ext>
            </a:extLst>
          </p:cNvPr>
          <p:cNvSpPr txBox="1"/>
          <p:nvPr/>
        </p:nvSpPr>
        <p:spPr>
          <a:xfrm>
            <a:off x="625652" y="1478906"/>
            <a:ext cx="109664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/>
              <a:t>Criteria</a:t>
            </a:r>
          </a:p>
        </p:txBody>
      </p:sp>
      <p:pic>
        <p:nvPicPr>
          <p:cNvPr id="37" name="Grafik 10" descr="Marke folgen mit einfarbiger Füllung">
            <a:extLst>
              <a:ext uri="{FF2B5EF4-FFF2-40B4-BE49-F238E27FC236}">
                <a16:creationId xmlns:a16="http://schemas.microsoft.com/office/drawing/2014/main" id="{0946AEE7-6223-458F-9ADB-5336456339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72394" y="2755318"/>
            <a:ext cx="504412" cy="504412"/>
          </a:xfrm>
          <a:prstGeom prst="rect">
            <a:avLst/>
          </a:prstGeom>
        </p:spPr>
      </p:pic>
      <p:pic>
        <p:nvPicPr>
          <p:cNvPr id="38" name="Grafik 14" descr="Abzeichen Tick1 mit einfarbiger Füllung">
            <a:extLst>
              <a:ext uri="{FF2B5EF4-FFF2-40B4-BE49-F238E27FC236}">
                <a16:creationId xmlns:a16="http://schemas.microsoft.com/office/drawing/2014/main" id="{4B39A710-AEE8-4BC7-8700-6929789C12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56614" y="2755318"/>
            <a:ext cx="504412" cy="504412"/>
          </a:xfrm>
          <a:prstGeom prst="rect">
            <a:avLst/>
          </a:prstGeom>
        </p:spPr>
      </p:pic>
      <p:pic>
        <p:nvPicPr>
          <p:cNvPr id="39" name="Grafik 14" descr="Abzeichen Tick1 mit einfarbiger Füllung">
            <a:extLst>
              <a:ext uri="{FF2B5EF4-FFF2-40B4-BE49-F238E27FC236}">
                <a16:creationId xmlns:a16="http://schemas.microsoft.com/office/drawing/2014/main" id="{F7CD58D3-F071-473F-B898-E513BABD75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87624" y="2755318"/>
            <a:ext cx="504412" cy="504412"/>
          </a:xfrm>
          <a:prstGeom prst="rect">
            <a:avLst/>
          </a:prstGeom>
        </p:spPr>
      </p:pic>
      <p:pic>
        <p:nvPicPr>
          <p:cNvPr id="40" name="Grafik 10" descr="Marke folgen mit einfarbiger Füllung">
            <a:extLst>
              <a:ext uri="{FF2B5EF4-FFF2-40B4-BE49-F238E27FC236}">
                <a16:creationId xmlns:a16="http://schemas.microsoft.com/office/drawing/2014/main" id="{C236D19A-5B33-461C-B053-49E253B90F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65513" y="2755318"/>
            <a:ext cx="504412" cy="504412"/>
          </a:xfrm>
          <a:prstGeom prst="rect">
            <a:avLst/>
          </a:prstGeom>
        </p:spPr>
      </p:pic>
      <p:pic>
        <p:nvPicPr>
          <p:cNvPr id="41" name="Grafik 14" descr="Abzeichen Tick1 mit einfarbiger Füllung">
            <a:extLst>
              <a:ext uri="{FF2B5EF4-FFF2-40B4-BE49-F238E27FC236}">
                <a16:creationId xmlns:a16="http://schemas.microsoft.com/office/drawing/2014/main" id="{5ED971A2-8021-4AD1-8604-96D3EE4922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81705" y="2755318"/>
            <a:ext cx="504412" cy="504412"/>
          </a:xfrm>
          <a:prstGeom prst="rect">
            <a:avLst/>
          </a:prstGeom>
        </p:spPr>
      </p:pic>
      <p:pic>
        <p:nvPicPr>
          <p:cNvPr id="43" name="Grafik 10" descr="Marke folgen mit einfarbiger Füllung">
            <a:extLst>
              <a:ext uri="{FF2B5EF4-FFF2-40B4-BE49-F238E27FC236}">
                <a16:creationId xmlns:a16="http://schemas.microsoft.com/office/drawing/2014/main" id="{B8E0088C-7A68-4373-AE1B-36A04FBCEA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85345" y="2755318"/>
            <a:ext cx="504412" cy="504412"/>
          </a:xfrm>
          <a:prstGeom prst="rect">
            <a:avLst/>
          </a:prstGeom>
        </p:spPr>
      </p:pic>
      <p:pic>
        <p:nvPicPr>
          <p:cNvPr id="44" name="Grafik 14" descr="Abzeichen Tick1 mit einfarbiger Füllung">
            <a:extLst>
              <a:ext uri="{FF2B5EF4-FFF2-40B4-BE49-F238E27FC236}">
                <a16:creationId xmlns:a16="http://schemas.microsoft.com/office/drawing/2014/main" id="{687AE5C2-D3F8-4D0A-985E-B9454D0237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56764" y="2755318"/>
            <a:ext cx="504412" cy="50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461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3"/>
          <p:cNvSpPr txBox="1">
            <a:spLocks noGrp="1"/>
          </p:cNvSpPr>
          <p:nvPr>
            <p:ph type="title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/>
              <a:t>AWS Lex – </a:t>
            </a:r>
            <a:r>
              <a:rPr lang="de-DE" err="1"/>
              <a:t>Travelbot</a:t>
            </a:r>
            <a:r>
              <a:rPr lang="de-DE"/>
              <a:t> Realisation Details</a:t>
            </a:r>
            <a:br>
              <a:rPr lang="de-DE"/>
            </a:br>
            <a:endParaRPr/>
          </a:p>
        </p:txBody>
      </p:sp>
      <p:pic>
        <p:nvPicPr>
          <p:cNvPr id="3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73D116F3-9727-46A6-85C9-C9D2875E9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743" y="3015655"/>
            <a:ext cx="2391701" cy="2033867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1FDC4C15-A305-47F0-AE9A-9536B19B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376" y="1208649"/>
            <a:ext cx="8601376" cy="1566081"/>
          </a:xfrm>
          <a:prstGeom prst="rect">
            <a:avLst/>
          </a:prstGeom>
        </p:spPr>
      </p:pic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25BF94CF-1B7B-4DD0-8F49-3DCA5ACCAC68}"/>
              </a:ext>
            </a:extLst>
          </p:cNvPr>
          <p:cNvSpPr/>
          <p:nvPr/>
        </p:nvSpPr>
        <p:spPr>
          <a:xfrm rot="5400000">
            <a:off x="1888205" y="2684270"/>
            <a:ext cx="530980" cy="305946"/>
          </a:xfrm>
          <a:prstGeom prst="rightArrow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12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33"/>
          <p:cNvSpPr txBox="1">
            <a:spLocks noGrp="1"/>
          </p:cNvSpPr>
          <p:nvPr>
            <p:ph type="title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err="1"/>
              <a:t>Travelbot</a:t>
            </a:r>
            <a:r>
              <a:rPr lang="de-DE"/>
              <a:t> – Realisation Details</a:t>
            </a:r>
            <a:br>
              <a:rPr lang="de-DE"/>
            </a:br>
            <a:r>
              <a:rPr lang="de-DE" err="1"/>
              <a:t>Functionality</a:t>
            </a:r>
            <a:r>
              <a:rPr lang="de-DE"/>
              <a:t> &amp; Task </a:t>
            </a:r>
            <a:r>
              <a:rPr lang="de-DE" err="1"/>
              <a:t>Overview</a:t>
            </a:r>
            <a:br>
              <a:rPr lang="de-DE"/>
            </a:br>
            <a:r>
              <a:rPr lang="de-DE"/>
              <a:t> </a:t>
            </a:r>
            <a:br>
              <a:rPr lang="de-DE"/>
            </a:b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EBCE03-7E2A-42F2-884E-B4025F91DE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1456" y="1513489"/>
            <a:ext cx="3167587" cy="3428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62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rId17" action="ppaction://hlinksldjump"/>
            <a:extLst>
              <a:ext uri="{FF2B5EF4-FFF2-40B4-BE49-F238E27FC236}">
                <a16:creationId xmlns:a16="http://schemas.microsoft.com/office/drawing/2014/main" id="{021B27BE-B968-473A-BF0C-5D3AB96588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0484" y="310850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Rectangle 15">
            <a:hlinkClick r:id="rId17" action="ppaction://hlinksldjump"/>
            <a:extLst>
              <a:ext uri="{FF2B5EF4-FFF2-40B4-BE49-F238E27FC236}">
                <a16:creationId xmlns:a16="http://schemas.microsoft.com/office/drawing/2014/main" id="{8039C32C-EF2B-4784-BAD8-C85FA36B7C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7959" y="310850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5" name="Rectangle 14">
            <a:hlinkClick r:id="rId17" action="ppaction://hlinksldjump"/>
            <a:extLst>
              <a:ext uri="{FF2B5EF4-FFF2-40B4-BE49-F238E27FC236}">
                <a16:creationId xmlns:a16="http://schemas.microsoft.com/office/drawing/2014/main" id="{46B1CF18-D72F-4D95-9532-83DB1E91B2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4349" y="310850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3A787B-CEAD-4F1E-8132-C7615389618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77959" y="2644895"/>
            <a:ext cx="10697307" cy="40011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Rectangle 12">
            <a:hlinkClick r:id="rId18" action="ppaction://hlinksldjump"/>
            <a:extLst>
              <a:ext uri="{FF2B5EF4-FFF2-40B4-BE49-F238E27FC236}">
                <a16:creationId xmlns:a16="http://schemas.microsoft.com/office/drawing/2014/main" id="{B2FA604A-E731-4295-99F1-75D3C6EAA1E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00484" y="264489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hlinkClick r:id="rId18" action="ppaction://hlinksldjump"/>
            <a:extLst>
              <a:ext uri="{FF2B5EF4-FFF2-40B4-BE49-F238E27FC236}">
                <a16:creationId xmlns:a16="http://schemas.microsoft.com/office/drawing/2014/main" id="{8BA027A4-58E8-4082-A4DD-158508F6E46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7959" y="264489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Demo</a:t>
            </a:r>
          </a:p>
        </p:txBody>
      </p:sp>
      <p:sp>
        <p:nvSpPr>
          <p:cNvPr id="11" name="Rectangle 10">
            <a:hlinkClick r:id="rId18" action="ppaction://hlinksldjump"/>
            <a:extLst>
              <a:ext uri="{FF2B5EF4-FFF2-40B4-BE49-F238E27FC236}">
                <a16:creationId xmlns:a16="http://schemas.microsoft.com/office/drawing/2014/main" id="{CD5DA2EE-A44D-4B0D-A4AC-32049018B53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4349" y="264489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Rectangle 9">
            <a:hlinkClick r:id="rId19" action="ppaction://hlinksldjump"/>
            <a:extLst>
              <a:ext uri="{FF2B5EF4-FFF2-40B4-BE49-F238E27FC236}">
                <a16:creationId xmlns:a16="http://schemas.microsoft.com/office/drawing/2014/main" id="{352F8299-08AA-432A-91FC-E84737CDBE2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100484" y="218128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hlinkClick r:id="rId19" action="ppaction://hlinksldjump"/>
            <a:extLst>
              <a:ext uri="{FF2B5EF4-FFF2-40B4-BE49-F238E27FC236}">
                <a16:creationId xmlns:a16="http://schemas.microsoft.com/office/drawing/2014/main" id="{EE9E92C3-BE7A-4289-A818-7B47C6236AC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7959" y="218128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Final Results &amp; </a:t>
            </a:r>
            <a:r>
              <a:rPr lang="en-US" sz="1600" b="1" err="1">
                <a:solidFill>
                  <a:schemeClr val="tx1"/>
                </a:solidFill>
              </a:rPr>
              <a:t>Realisation</a:t>
            </a:r>
            <a:r>
              <a:rPr lang="en-US" sz="1600" b="1">
                <a:solidFill>
                  <a:schemeClr val="tx1"/>
                </a:solidFill>
              </a:rPr>
              <a:t> Details</a:t>
            </a:r>
          </a:p>
        </p:txBody>
      </p:sp>
      <p:sp>
        <p:nvSpPr>
          <p:cNvPr id="8" name="Rectangle 7">
            <a:hlinkClick r:id="rId19" action="ppaction://hlinksldjump"/>
            <a:extLst>
              <a:ext uri="{FF2B5EF4-FFF2-40B4-BE49-F238E27FC236}">
                <a16:creationId xmlns:a16="http://schemas.microsoft.com/office/drawing/2014/main" id="{BBE486FF-F3C1-4BC2-ABFB-DAD6A263092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4349" y="218128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0" action="ppaction://hlinksldjump"/>
            <a:extLst>
              <a:ext uri="{FF2B5EF4-FFF2-40B4-BE49-F238E27FC236}">
                <a16:creationId xmlns:a16="http://schemas.microsoft.com/office/drawing/2014/main" id="{15D32A73-E977-4183-9CA8-73602089AA2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100484" y="1717675"/>
            <a:ext cx="65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20" action="ppaction://hlinksldjump"/>
            <a:extLst>
              <a:ext uri="{FF2B5EF4-FFF2-40B4-BE49-F238E27FC236}">
                <a16:creationId xmlns:a16="http://schemas.microsoft.com/office/drawing/2014/main" id="{C098202F-9DDC-414B-B62A-376F7CE0E38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977959" y="1717675"/>
            <a:ext cx="342080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Wrap-up: Problem Statement</a:t>
            </a:r>
          </a:p>
        </p:txBody>
      </p:sp>
      <p:sp>
        <p:nvSpPr>
          <p:cNvPr id="5" name="Rectangle 4">
            <a:hlinkClick r:id="rId20" action="ppaction://hlinksldjump"/>
            <a:extLst>
              <a:ext uri="{FF2B5EF4-FFF2-40B4-BE49-F238E27FC236}">
                <a16:creationId xmlns:a16="http://schemas.microsoft.com/office/drawing/2014/main" id="{63AE37F0-3472-4662-BA1C-4EF831CE23C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14349" y="1717675"/>
            <a:ext cx="400110" cy="40011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7FF5A9-07D3-469C-A31D-910D7BAB007C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151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hideSeparatingSlides=&quot;0&quot; createSections=&quot;1&quot; singleSlideId=&quot;7fe93270-7c4f-41ab-ad8e-cccf9ed979b8&quot; backupSlideId=&quot;3fe01a1c-f289-4c75-9efd-611e4afe7b34&quot; backupSectionId=&quot;{893CD0E0-E367-4360-AEFC-54B9040AAA90}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81.4738&quot; /&gt;&lt;column field=&quot;responsible&quot; label=&quot;Responsible&quot; visible=&quot;1&quot; checked=&quot;1&quot; leftSpacing=&quot;10&quot; rightDistribute=&quot;1&quot; dock=&quot;1&quot; rightSpacing=&quot;281.4738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587074ce-696b-419f-9c80-b3f2935910a4&quot; parentId=&quot;&quot; level=&quot;1&quot; generateAgendaSlide=&quot;1&quot; showAgendaItem=&quot;1&quot; isBreak=&quot;0&quot; topic=&quot;Wrap-up: Problem Statement&quot; agendaSlideId=&quot;8afba068-0548-4d4a-bd4f-4f5e9d69323c&quot; sectionId=&quot;{2519DCD5-5F55-4D89-99AE-5A383378B39C}&quot; /&gt;&lt;item duration=&quot;30&quot; id=&quot;dfa59d18-48a7-42a8-ad1e-31143d9dfdc2&quot; parentId=&quot;&quot; level=&quot;1&quot; generateAgendaSlide=&quot;1&quot; showAgendaItem=&quot;1&quot; isBreak=&quot;0&quot; topic=&quot;Final Results &amp;amp; Realisation details&quot; agendaSlideId=&quot;8dcf91be-69bc-4bd3-9fd3-0144faa780e0&quot; sectionId=&quot;{245DE1B4-04A5-41E4-AA3F-0F0A7553A1D8}&quot; /&gt;&lt;item duration=&quot;30&quot; id=&quot;5592fa81-1675-439e-a4bc-83148c8c4be4&quot; parentId=&quot;&quot; level=&quot;1&quot; generateAgendaSlide=&quot;1&quot; showAgendaItem=&quot;1&quot; isBreak=&quot;0&quot; topic=&quot;Final Demo&quot; agendaSlideId=&quot;00993319-8142-49b7-ae40-cea02a4c953a&quot; sectionId=&quot;{D61D7E53-EBEA-4ED7-8612-7EAEAC80EAFD}&quot; /&gt;&lt;item duration=&quot;30&quot; id=&quot;fb0a1b53-8915-48ab-886e-fb35f1fef925&quot; parentId=&quot;&quot; level=&quot;1&quot; generateAgendaSlide=&quot;1&quot; showAgendaItem=&quot;1&quot; isBreak=&quot;0&quot; topic=&quot;Conclusion&quot; agendaSlideId=&quot;fd21c24c-c6e1-4f46-beb1-fb4ed165ee2d&quot; sectionId=&quot;{2C2E255E-C531-4FF7-894F-BC459DFD683F}&quot; /&gt;&lt;item duration=&quot;30&quot; id=&quot;9f33cebe-17b5-4916-8e2c-3a052bd9c9de&quot; parentId=&quot;&quot; level=&quot;1&quot; generateAgendaSlide=&quot;0&quot; showAgendaItem=&quot;0&quot; isBreak=&quot;0&quot; topic=&quot;&quot; agendaSlideId=&quot;&quot; sectionId=&quot;&quot; /&gt;&lt;item duration=&quot;30&quot; id=&quot;a79db4ba-21f5-43c8-8cca-77327ee5c589&quot; parentId=&quot;&quot; level=&quot;1&quot; generateAgendaSlide=&quot;0&quot; showAgendaItem=&quot;0&quot; isBreak=&quot;0&quot; topic=&quot;&quot; agendaSlideId=&quot;&quot; sectionId=&quot;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Topic"/>
  <p:tag name="EE4P_AGENDAWIZARD_CONTENT" val="/Final Results &amp; Realisation details"/>
  <p:tag name="EE4P_AGENDAWIZARD_PROPERTIES" val="77.00465/171.7547/269.3549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ItemNo"/>
  <p:tag name="EE4P_AGENDAWIZARD_CONTENT" val="/2"/>
  <p:tag name="EE4P_AGENDAWIZARD_PROPERTIES" val="40.49992/171.7547/31.50472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Responsible"/>
  <p:tag name="EE4P_AGENDAWIZARD_PROPERTIES" val="637.8334/135.25/0.0051181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Topic"/>
  <p:tag name="EE4P_AGENDAWIZARD_CONTENT" val="/Wrap-up: Problem Statement"/>
  <p:tag name="EE4P_AGENDAWIZARD_PROPERTIES" val="77.00465/135.25/269.3549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ItemNo"/>
  <p:tag name="EE4P_AGENDAWIZARD_CONTENT" val="/1"/>
  <p:tag name="EE4P_AGENDAWIZARD_PROPERTIES" val="40.49992/135.25/31.50472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afba068-0548-4d4a-bd4f-4f5e9d69323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Responsible"/>
  <p:tag name="EE4P_AGENDAWIZARD_PROPERTIES" val="637.8334/244.7642/0.00511811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Topic"/>
  <p:tag name="EE4P_AGENDAWIZARD_CONTENT" val="/Conclusion"/>
  <p:tag name="EE4P_AGENDAWIZARD_PROPERTIES" val="77.00465/244.7642/269.3549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ItemNo"/>
  <p:tag name="EE4P_AGENDAWIZARD_CONTENT" val="/4"/>
  <p:tag name="EE4P_AGENDAWIZARD_PROPERTIES" val="40.49992/244.7642/31.50472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fe93270-7c4f-41ab-ad8e-cccf9ed979b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Responsible"/>
  <p:tag name="EE4P_AGENDAWIZARD_PROPERTIES" val="637.8334/208.2594/0.00511811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Topic"/>
  <p:tag name="EE4P_AGENDAWIZARD_CONTENT" val="/Final Demo"/>
  <p:tag name="EE4P_AGENDAWIZARD_PROPERTIES" val="77.00465/208.2594/269.3549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ItemNo"/>
  <p:tag name="EE4P_AGENDAWIZARD_CONTENT" val="/3"/>
  <p:tag name="EE4P_AGENDAWIZARD_PROPERTIES" val="40.49992/208.2594/31.50472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Responsible"/>
  <p:tag name="EE4P_AGENDAWIZARD_PROPERTIES" val="637.8334/171.7547/0.00511811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Topic"/>
  <p:tag name="EE4P_AGENDAWIZARD_CONTENT" val="/Final Results &amp; Realisation details"/>
  <p:tag name="EE4P_AGENDAWIZARD_PROPERTIES" val="77.00465/171.7547/269.3549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ItemNo"/>
  <p:tag name="EE4P_AGENDAWIZARD_CONTENT" val="/2"/>
  <p:tag name="EE4P_AGENDAWIZARD_PROPERTIES" val="40.49992/171.7547/31.50472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Ele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Responsible"/>
  <p:tag name="EE4P_AGENDAWIZARD_PROPERTIES" val="637.8334/135.25/0.00511811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Topic"/>
  <p:tag name="EE4P_AGENDAWIZARD_CONTENT" val="/Wrap-up: Problem Statement"/>
  <p:tag name="EE4P_AGENDAWIZARD_PROPERTIES" val="77.00465/135.25/269.3549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ItemNo"/>
  <p:tag name="EE4P_AGENDAWIZARD_CONTENT" val="/1"/>
  <p:tag name="EE4P_AGENDAWIZARD_PROPERTIES" val="40.49992/135.25/31.50472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Responsible"/>
  <p:tag name="EE4P_AGENDAWIZARD_PROPERTIES" val="637.8334/244.7642/0.00511811/31.504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dcf91be-69bc-4bd3-9fd3-0144faa780e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Responsible"/>
  <p:tag name="EE4P_AGENDAWIZARD_PROPERTIES" val="637.8334/244.7642/0.00511811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Topic"/>
  <p:tag name="EE4P_AGENDAWIZARD_CONTENT" val="/Conclusion"/>
  <p:tag name="EE4P_AGENDAWIZARD_PROPERTIES" val="77.00465/244.7642/269.3549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ItemNo"/>
  <p:tag name="EE4P_AGENDAWIZARD_CONTENT" val="/4"/>
  <p:tag name="EE4P_AGENDAWIZARD_PROPERTIES" val="40.49992/244.7642/31.50472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Responsible"/>
  <p:tag name="EE4P_AGENDAWIZARD_PROPERTIES" val="637.8334/208.2594/0.00511811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Topic"/>
  <p:tag name="EE4P_AGENDAWIZARD_CONTENT" val="/Final Demo"/>
  <p:tag name="EE4P_AGENDAWIZARD_PROPERTIES" val="77.00465/208.2594/269.3549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ItemNo"/>
  <p:tag name="EE4P_AGENDAWIZARD_CONTENT" val="/3"/>
  <p:tag name="EE4P_AGENDAWIZARD_PROPERTIES" val="40.49992/208.2594/31.50472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Elemen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Responsible"/>
  <p:tag name="EE4P_AGENDAWIZARD_PROPERTIES" val="637.8334/171.7547/0.00511811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Topic"/>
  <p:tag name="EE4P_AGENDAWIZARD_CONTENT" val="/Conclusion"/>
  <p:tag name="EE4P_AGENDAWIZARD_PROPERTIES" val="77.00465/244.7642/269.3549/31.504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Topic"/>
  <p:tag name="EE4P_AGENDAWIZARD_CONTENT" val="/Final Results &amp; Realisation details"/>
  <p:tag name="EE4P_AGENDAWIZARD_PROPERTIES" val="77.00465/171.7547/269.3549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ItemNo"/>
  <p:tag name="EE4P_AGENDAWIZARD_CONTENT" val="/2"/>
  <p:tag name="EE4P_AGENDAWIZARD_PROPERTIES" val="40.49992/171.7547/31.50472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Responsible"/>
  <p:tag name="EE4P_AGENDAWIZARD_PROPERTIES" val="637.8334/135.25/0.00511811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Topic"/>
  <p:tag name="EE4P_AGENDAWIZARD_CONTENT" val="/Wrap-up: Problem Statement"/>
  <p:tag name="EE4P_AGENDAWIZARD_PROPERTIES" val="77.00465/135.25/269.3549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ItemNo"/>
  <p:tag name="EE4P_AGENDAWIZARD_CONTENT" val="/1"/>
  <p:tag name="EE4P_AGENDAWIZARD_PROPERTIES" val="40.49992/135.25/31.50472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0993319-8142-49b7-ae40-cea02a4c95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Responsible"/>
  <p:tag name="EE4P_AGENDAWIZARD_PROPERTIES" val="637.8334/244.7642/0.00511811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Topic"/>
  <p:tag name="EE4P_AGENDAWIZARD_CONTENT" val="/Conclusion"/>
  <p:tag name="EE4P_AGENDAWIZARD_PROPERTIES" val="77.00465/244.7642/269.3549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ItemNo"/>
  <p:tag name="EE4P_AGENDAWIZARD_CONTENT" val="/4"/>
  <p:tag name="EE4P_AGENDAWIZARD_PROPERTIES" val="40.49992/244.7642/31.50472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ItemNo"/>
  <p:tag name="EE4P_AGENDAWIZARD_CONTENT" val="/4"/>
  <p:tag name="EE4P_AGENDAWIZARD_PROPERTIES" val="40.49992/244.7642/31.50472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Responsible"/>
  <p:tag name="EE4P_AGENDAWIZARD_PROPERTIES" val="637.8334/208.2594/0.00511811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Topic"/>
  <p:tag name="EE4P_AGENDAWIZARD_CONTENT" val="/Final Demo"/>
  <p:tag name="EE4P_AGENDAWIZARD_PROPERTIES" val="77.00465/208.2594/269.3549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ItemNo"/>
  <p:tag name="EE4P_AGENDAWIZARD_CONTENT" val="/3"/>
  <p:tag name="EE4P_AGENDAWIZARD_PROPERTIES" val="40.49992/208.2594/31.50472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Responsible"/>
  <p:tag name="EE4P_AGENDAWIZARD_PROPERTIES" val="637.8334/171.7547/0.00511811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Topic"/>
  <p:tag name="EE4P_AGENDAWIZARD_CONTENT" val="/Final Results &amp; Realisation details"/>
  <p:tag name="EE4P_AGENDAWIZARD_PROPERTIES" val="77.00465/171.7547/269.3549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ItemNo"/>
  <p:tag name="EE4P_AGENDAWIZARD_CONTENT" val="/2"/>
  <p:tag name="EE4P_AGENDAWIZARD_PROPERTIES" val="40.49992/171.7547/31.50472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Responsible"/>
  <p:tag name="EE4P_AGENDAWIZARD_PROPERTIES" val="637.8334/135.25/0.00511811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Topic"/>
  <p:tag name="EE4P_AGENDAWIZARD_CONTENT" val="/Wrap-up: Problem Statement"/>
  <p:tag name="EE4P_AGENDAWIZARD_PROPERTIES" val="77.00465/135.25/269.3549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ItemNo"/>
  <p:tag name="EE4P_AGENDAWIZARD_CONTENT" val="/1"/>
  <p:tag name="EE4P_AGENDAWIZARD_PROPERTIES" val="40.49992/135.25/31.50472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Responsible"/>
  <p:tag name="EE4P_AGENDAWIZARD_PROPERTIES" val="637.8334/208.2594/0.00511811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d21c24c-c6e1-4f46-beb1-fb4ed165ee2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Elemen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Responsible"/>
  <p:tag name="EE4P_AGENDAWIZARD_PROPERTIES" val="637.8334/244.7642/0.00511811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Topic"/>
  <p:tag name="EE4P_AGENDAWIZARD_CONTENT" val="/Conclusion"/>
  <p:tag name="EE4P_AGENDAWIZARD_PROPERTIES" val="77.00465/244.7642/269.3549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d21c24c-c6e1-4f46-beb1-fb4ed165ee2d_ItemNo"/>
  <p:tag name="EE4P_AGENDAWIZARD_CONTENT" val="/4"/>
  <p:tag name="EE4P_AGENDAWIZARD_PROPERTIES" val="40.49992/244.7642/31.50472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Responsible"/>
  <p:tag name="EE4P_AGENDAWIZARD_PROPERTIES" val="637.8334/208.2594/0.00511811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Topic"/>
  <p:tag name="EE4P_AGENDAWIZARD_CONTENT" val="/Final Demo"/>
  <p:tag name="EE4P_AGENDAWIZARD_PROPERTIES" val="77.00465/208.2594/269.3549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ItemNo"/>
  <p:tag name="EE4P_AGENDAWIZARD_CONTENT" val="/3"/>
  <p:tag name="EE4P_AGENDAWIZARD_PROPERTIES" val="40.49992/208.2594/31.50472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Responsible"/>
  <p:tag name="EE4P_AGENDAWIZARD_PROPERTIES" val="637.8334/171.7547/0.00511811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Topic"/>
  <p:tag name="EE4P_AGENDAWIZARD_CONTENT" val="/Final Demo"/>
  <p:tag name="EE4P_AGENDAWIZARD_PROPERTIES" val="77.00465/208.2594/269.3549/31.5047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Topic"/>
  <p:tag name="EE4P_AGENDAWIZARD_CONTENT" val="/Final Results &amp; Realisation details"/>
  <p:tag name="EE4P_AGENDAWIZARD_PROPERTIES" val="77.00465/171.7547/269.3549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ItemNo"/>
  <p:tag name="EE4P_AGENDAWIZARD_CONTENT" val="/2"/>
  <p:tag name="EE4P_AGENDAWIZARD_PROPERTIES" val="40.49992/171.7547/31.50472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Responsible"/>
  <p:tag name="EE4P_AGENDAWIZARD_PROPERTIES" val="637.8334/135.25/0.00511811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Topic"/>
  <p:tag name="EE4P_AGENDAWIZARD_CONTENT" val="/Wrap-up: Problem Statement"/>
  <p:tag name="EE4P_AGENDAWIZARD_PROPERTIES" val="77.00465/135.25/269.3549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afba068-0548-4d4a-bd4f-4f5e9d69323c_ItemNo"/>
  <p:tag name="EE4P_AGENDAWIZARD_CONTENT" val="/1"/>
  <p:tag name="EE4P_AGENDAWIZARD_PROPERTIES" val="40.49992/135.25/31.50472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0993319-8142-49b7-ae40-cea02a4c953a_ItemNo"/>
  <p:tag name="EE4P_AGENDAWIZARD_CONTENT" val="/3"/>
  <p:tag name="EE4P_AGENDAWIZARD_PROPERTIES" val="40.49992/208.2594/31.50472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dcf91be-69bc-4bd3-9fd3-0144faa780e0_Responsible"/>
  <p:tag name="EE4P_AGENDAWIZARD_PROPERTIES" val="637.8334/171.7547/0.00511811/31.50472"/>
</p:tagLst>
</file>

<file path=ppt/theme/theme1.xml><?xml version="1.0" encoding="utf-8"?>
<a:theme xmlns:a="http://schemas.openxmlformats.org/drawingml/2006/main" name="Ai Tech Agency by Slidesgo">
  <a:themeElements>
    <a:clrScheme name="Simple Light">
      <a:dk1>
        <a:srgbClr val="0C343D"/>
      </a:dk1>
      <a:lt1>
        <a:srgbClr val="00C3B1"/>
      </a:lt1>
      <a:dk2>
        <a:srgbClr val="CC4125"/>
      </a:dk2>
      <a:lt2>
        <a:srgbClr val="F3F3F3"/>
      </a:lt2>
      <a:accent1>
        <a:srgbClr val="0C343D"/>
      </a:accent1>
      <a:accent2>
        <a:srgbClr val="00C3B1"/>
      </a:accent2>
      <a:accent3>
        <a:srgbClr val="CC4125"/>
      </a:accent3>
      <a:accent4>
        <a:srgbClr val="F3F3F3"/>
      </a:accent4>
      <a:accent5>
        <a:srgbClr val="0C343D"/>
      </a:accent5>
      <a:accent6>
        <a:srgbClr val="00C3B1"/>
      </a:accent6>
      <a:hlink>
        <a:srgbClr val="F3F3F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On-screen Show (16:9)</PresentationFormat>
  <Slides>19</Slides>
  <Notes>1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Ai Tech Agency by Slidesgo</vt:lpstr>
      <vt:lpstr>Voicebot Speech-To-Text-To-Speech Components-2</vt:lpstr>
      <vt:lpstr>Agenda</vt:lpstr>
      <vt:lpstr>Agenda</vt:lpstr>
      <vt:lpstr>Updated - Problem Statement</vt:lpstr>
      <vt:lpstr>Agenda</vt:lpstr>
      <vt:lpstr>Final Results</vt:lpstr>
      <vt:lpstr>AWS Lex – Travelbot Realisation Details </vt:lpstr>
      <vt:lpstr>Travelbot – Realisation Details Functionality &amp; Task Overview   </vt:lpstr>
      <vt:lpstr>Agenda</vt:lpstr>
      <vt:lpstr>Find Train Connection</vt:lpstr>
      <vt:lpstr>AWS Lex – Demo to find train connection  </vt:lpstr>
      <vt:lpstr>Find Hotel with Address</vt:lpstr>
      <vt:lpstr>Find Train Connection to Get to Hotel</vt:lpstr>
      <vt:lpstr>AWS Lex – Demo to find hotel and train to hotel </vt:lpstr>
      <vt:lpstr>Our Travelbot is also integrated into the Messenger Service:</vt:lpstr>
      <vt:lpstr>AWS Lex – Demo to find hotel using Slack app  </vt:lpstr>
      <vt:lpstr>Agenda</vt:lpstr>
      <vt:lpstr>Conclusion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icebot Speech-To-Text-To-Speech Components-2</dc:title>
  <dc:creator>Ronny Georgi</dc:creator>
  <cp:revision>1</cp:revision>
  <dcterms:modified xsi:type="dcterms:W3CDTF">2022-02-27T21:55:45Z</dcterms:modified>
</cp:coreProperties>
</file>